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9" r:id="rId3"/>
    <p:sldId id="258" r:id="rId4"/>
    <p:sldId id="267" r:id="rId5"/>
    <p:sldId id="268" r:id="rId6"/>
    <p:sldId id="269" r:id="rId7"/>
    <p:sldId id="270" r:id="rId8"/>
    <p:sldId id="271" r:id="rId9"/>
    <p:sldId id="278" r:id="rId10"/>
    <p:sldId id="272" r:id="rId11"/>
    <p:sldId id="265" r:id="rId12"/>
    <p:sldId id="266" r:id="rId13"/>
    <p:sldId id="273" r:id="rId14"/>
    <p:sldId id="274" r:id="rId15"/>
    <p:sldId id="263" r:id="rId16"/>
    <p:sldId id="264" r:id="rId17"/>
    <p:sldId id="275" r:id="rId18"/>
    <p:sldId id="276" r:id="rId19"/>
    <p:sldId id="277" r:id="rId20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A1B8"/>
    <a:srgbClr val="33CCCC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3DFD1A-310F-4008-90FD-DDD88533549C}" v="51" dt="2021-09-16T13:40:26.2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5" d="100"/>
          <a:sy n="65" d="100"/>
        </p:scale>
        <p:origin x="618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lbot Smith" userId="4a7dbed80eca0840" providerId="LiveId" clId="{BB3DFD1A-310F-4008-90FD-DDD88533549C}"/>
    <pc:docChg chg="custSel modSld modMainMaster replTag">
      <pc:chgData name="Talbot Smith" userId="4a7dbed80eca0840" providerId="LiveId" clId="{BB3DFD1A-310F-4008-90FD-DDD88533549C}" dt="2021-09-15T21:18:20.524" v="151" actId="207"/>
      <pc:docMkLst>
        <pc:docMk/>
      </pc:docMkLst>
      <pc:sldChg chg="addSp delSp modSp mod">
        <pc:chgData name="Talbot Smith" userId="4a7dbed80eca0840" providerId="LiveId" clId="{BB3DFD1A-310F-4008-90FD-DDD88533549C}" dt="2021-09-15T21:18:20.524" v="151" actId="207"/>
        <pc:sldMkLst>
          <pc:docMk/>
          <pc:sldMk cId="1963491027" sldId="272"/>
        </pc:sldMkLst>
        <pc:spChg chg="mod ord">
          <ac:chgData name="Talbot Smith" userId="4a7dbed80eca0840" providerId="LiveId" clId="{BB3DFD1A-310F-4008-90FD-DDD88533549C}" dt="2021-09-15T21:14:38.105" v="90"/>
          <ac:spMkLst>
            <pc:docMk/>
            <pc:sldMk cId="1963491027" sldId="272"/>
            <ac:spMk id="2" creationId="{9DF9A528-CFF4-4AF6-AC0D-788FBEE2A956}"/>
          </ac:spMkLst>
        </pc:spChg>
        <pc:spChg chg="add mod ord">
          <ac:chgData name="Talbot Smith" userId="4a7dbed80eca0840" providerId="LiveId" clId="{BB3DFD1A-310F-4008-90FD-DDD88533549C}" dt="2021-09-15T21:18:20.524" v="151" actId="207"/>
          <ac:spMkLst>
            <pc:docMk/>
            <pc:sldMk cId="1963491027" sldId="272"/>
            <ac:spMk id="3" creationId="{1D0445AD-1B0A-4EE8-ADF2-3F5B9B242A0C}"/>
          </ac:spMkLst>
        </pc:spChg>
        <pc:spChg chg="mod ord">
          <ac:chgData name="Talbot Smith" userId="4a7dbed80eca0840" providerId="LiveId" clId="{BB3DFD1A-310F-4008-90FD-DDD88533549C}" dt="2021-09-15T21:14:38.105" v="94"/>
          <ac:spMkLst>
            <pc:docMk/>
            <pc:sldMk cId="1963491027" sldId="272"/>
            <ac:spMk id="5" creationId="{A4FBF39C-4D50-44A4-9544-22DEE6052E47}"/>
          </ac:spMkLst>
        </pc:spChg>
        <pc:spChg chg="mod ord">
          <ac:chgData name="Talbot Smith" userId="4a7dbed80eca0840" providerId="LiveId" clId="{BB3DFD1A-310F-4008-90FD-DDD88533549C}" dt="2021-09-15T21:14:38.106" v="96"/>
          <ac:spMkLst>
            <pc:docMk/>
            <pc:sldMk cId="1963491027" sldId="272"/>
            <ac:spMk id="6" creationId="{A57EEB0A-7963-4CC1-AA36-8CDA1282E086}"/>
          </ac:spMkLst>
        </pc:spChg>
        <pc:spChg chg="mod ord">
          <ac:chgData name="Talbot Smith" userId="4a7dbed80eca0840" providerId="LiveId" clId="{BB3DFD1A-310F-4008-90FD-DDD88533549C}" dt="2021-09-15T21:14:38.106" v="98"/>
          <ac:spMkLst>
            <pc:docMk/>
            <pc:sldMk cId="1963491027" sldId="272"/>
            <ac:spMk id="7" creationId="{3362DA83-F7CF-49FC-BD37-25D6313A9F38}"/>
          </ac:spMkLst>
        </pc:spChg>
        <pc:spChg chg="mod ord">
          <ac:chgData name="Talbot Smith" userId="4a7dbed80eca0840" providerId="LiveId" clId="{BB3DFD1A-310F-4008-90FD-DDD88533549C}" dt="2021-09-15T21:14:38.107" v="100"/>
          <ac:spMkLst>
            <pc:docMk/>
            <pc:sldMk cId="1963491027" sldId="272"/>
            <ac:spMk id="8" creationId="{6578E78C-56C7-4BFC-A5AA-4EDCEB3FAE25}"/>
          </ac:spMkLst>
        </pc:spChg>
        <pc:spChg chg="add del mod modVis">
          <ac:chgData name="Talbot Smith" userId="4a7dbed80eca0840" providerId="LiveId" clId="{BB3DFD1A-310F-4008-90FD-DDD88533549C}" dt="2021-09-15T21:14:38.108" v="105"/>
          <ac:spMkLst>
            <pc:docMk/>
            <pc:sldMk cId="1963491027" sldId="272"/>
            <ac:spMk id="10" creationId="{44AA88B6-DE43-44E7-B01A-6967071481A9}"/>
          </ac:spMkLst>
        </pc:spChg>
        <pc:spChg chg="add mod">
          <ac:chgData name="Talbot Smith" userId="4a7dbed80eca0840" providerId="LiveId" clId="{BB3DFD1A-310F-4008-90FD-DDD88533549C}" dt="2021-09-15T21:15:01.950" v="147" actId="207"/>
          <ac:spMkLst>
            <pc:docMk/>
            <pc:sldMk cId="1963491027" sldId="272"/>
            <ac:spMk id="12" creationId="{E650F48C-20D0-4B7C-AD12-3E643DECB211}"/>
          </ac:spMkLst>
        </pc:spChg>
        <pc:graphicFrameChg chg="add mod ord modVis replST">
          <ac:chgData name="Talbot Smith" userId="4a7dbed80eca0840" providerId="LiveId" clId="{BB3DFD1A-310F-4008-90FD-DDD88533549C}" dt="2021-09-15T21:14:38.134" v="121"/>
          <ac:graphicFrameMkLst>
            <pc:docMk/>
            <pc:sldMk cId="1963491027" sldId="272"/>
            <ac:graphicFrameMk id="11" creationId="{C10B83F9-E39B-4748-B555-F63FDE323466}"/>
          </ac:graphicFrameMkLst>
        </pc:graphicFrameChg>
        <pc:picChg chg="mod ord">
          <ac:chgData name="Talbot Smith" userId="4a7dbed80eca0840" providerId="LiveId" clId="{BB3DFD1A-310F-4008-90FD-DDD88533549C}" dt="2021-09-15T21:14:38.105" v="92"/>
          <ac:picMkLst>
            <pc:docMk/>
            <pc:sldMk cId="1963491027" sldId="272"/>
            <ac:picMk id="4" creationId="{726FDE4C-A659-4BA0-AE33-DB8F864454E6}"/>
          </ac:picMkLst>
        </pc:picChg>
        <pc:picChg chg="mod ord">
          <ac:chgData name="Talbot Smith" userId="4a7dbed80eca0840" providerId="LiveId" clId="{BB3DFD1A-310F-4008-90FD-DDD88533549C}" dt="2021-09-15T21:14:38.107" v="102"/>
          <ac:picMkLst>
            <pc:docMk/>
            <pc:sldMk cId="1963491027" sldId="272"/>
            <ac:picMk id="9" creationId="{DD3D61BC-DF72-4534-8A85-78314ADB8B09}"/>
          </ac:picMkLst>
        </pc:picChg>
      </pc:sldChg>
      <pc:sldMasterChg chg="addSp delSp modSp mod">
        <pc:chgData name="Talbot Smith" userId="4a7dbed80eca0840" providerId="LiveId" clId="{BB3DFD1A-310F-4008-90FD-DDD88533549C}" dt="2021-09-15T21:14:38.155" v="139"/>
        <pc:sldMasterMkLst>
          <pc:docMk/>
          <pc:sldMasterMk cId="2288314117" sldId="2147483648"/>
        </pc:sldMasterMkLst>
        <pc:spChg chg="mod">
          <ac:chgData name="Talbot Smith" userId="4a7dbed80eca0840" providerId="LiveId" clId="{BB3DFD1A-310F-4008-90FD-DDD88533549C}" dt="2021-09-15T21:14:38.074" v="49" actId="948"/>
          <ac:spMkLst>
            <pc:docMk/>
            <pc:sldMasterMk cId="2288314117" sldId="2147483648"/>
            <ac:spMk id="2" creationId="{9C5B8BF5-3202-43FD-A47A-4DAF1BF88F2D}"/>
          </ac:spMkLst>
        </pc:spChg>
        <pc:spChg chg="add del mod modVis">
          <ac:chgData name="Talbot Smith" userId="4a7dbed80eca0840" providerId="LiveId" clId="{BB3DFD1A-310F-4008-90FD-DDD88533549C}" dt="2021-09-15T21:14:38.134" v="123"/>
          <ac:spMkLst>
            <pc:docMk/>
            <pc:sldMasterMk cId="2288314117" sldId="2147483648"/>
            <ac:spMk id="4" creationId="{D18C4166-86B0-468C-8772-EC8A05F796AD}"/>
          </ac:spMkLst>
        </pc:spChg>
        <pc:graphicFrameChg chg="add mod ord modVis replST">
          <ac:chgData name="Talbot Smith" userId="4a7dbed80eca0840" providerId="LiveId" clId="{BB3DFD1A-310F-4008-90FD-DDD88533549C}" dt="2021-09-15T21:14:38.155" v="139"/>
          <ac:graphicFrameMkLst>
            <pc:docMk/>
            <pc:sldMasterMk cId="2288314117" sldId="2147483648"/>
            <ac:graphicFrameMk id="6" creationId="{67995BAD-3DE7-4AD1-A107-41FE6B723658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D9A5D-5CE4-44BD-9A12-44EF36A360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6F07E8-8D43-44FC-B9A5-1101C0A675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CEDEF5-A9D1-42AD-8C45-88939F29F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C99309-A4CD-4E49-9A31-C3B7EAB8D291}"/>
              </a:ext>
            </a:extLst>
          </p:cNvPr>
          <p:cNvCxnSpPr/>
          <p:nvPr userDrawn="1"/>
        </p:nvCxnSpPr>
        <p:spPr>
          <a:xfrm>
            <a:off x="838200" y="5895976"/>
            <a:ext cx="105156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418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794CD-D1AD-48E5-9216-BF21C3697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5746E0-9E3F-4743-9FB4-B55B19536D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BC0965-0FC7-4CDC-B57B-B573B47FA9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A078E4-7B0A-4059-82CB-21C2AF400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00C787-BA25-48BC-831F-95F6BE1C3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59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1BA2AC-29E9-4551-99D1-75702BE529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02B6D2-5FCE-4EFE-BD7F-BDC793F1F3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E7C3FB-B126-4D13-854B-5C4D0CD1F4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7D6FE2-A4F8-4263-935B-38E0A1F3A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E860B-AE32-4EB2-B7EA-E230DF85E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298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2B9633-37C2-44B8-BDE7-10BD5A1BB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C1BBFF-2FA8-436F-B67C-950CDBB707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D2373-BE7F-4CBB-878B-DF6805BA18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</p:spTree>
    <p:extLst>
      <p:ext uri="{BB962C8B-B14F-4D97-AF65-F5344CB8AC3E}">
        <p14:creationId xmlns:p14="http://schemas.microsoft.com/office/powerpoint/2010/main" val="903085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155D7F-F475-4212-9A53-A190030D1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CDF55B-E6DB-4931-9D61-18F8D1B9C6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74DD1F-83B9-4392-831D-762DB0DEC0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0059D8-C9B7-4520-A946-337BF272B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7961BF-7511-47CD-AC15-A408C88BC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585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7D7F3C-7292-4D26-BCAB-B6F8318C5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6EB9E2-ADD2-4D82-AB9A-DE4A83FE3B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D1891B-F8B8-47F7-A1D9-AF3AC5102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B34A2-9F94-4066-AFF7-1B43CBB315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986719-67DB-47EC-936D-AD3994711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9EABD1-8F3D-4A7D-9F4C-45CEA1DF8F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225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011AC-CF24-410E-A37C-36E3DC1CD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539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F477F-4205-4B25-9F63-8828BB038B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DD3B7B-0E0B-4EBF-8A1F-910ED9BFE0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6C7194-7AEA-4F5D-82F2-C6F105ADFD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9DF9C2-12E3-410B-ABAD-83A4BAACAB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B9B238-D135-426E-B56E-AC1DCADF60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785959-F3E5-40CC-A304-CB3FA2615AC0}"/>
              </a:ext>
            </a:extLst>
          </p:cNvPr>
          <p:cNvCxnSpPr>
            <a:cxnSpLocks/>
          </p:cNvCxnSpPr>
          <p:nvPr userDrawn="1"/>
        </p:nvCxnSpPr>
        <p:spPr>
          <a:xfrm>
            <a:off x="838200" y="2486026"/>
            <a:ext cx="51593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F4F7865-1318-48C8-B2EE-02AFE8E2C753}"/>
              </a:ext>
            </a:extLst>
          </p:cNvPr>
          <p:cNvCxnSpPr>
            <a:cxnSpLocks/>
          </p:cNvCxnSpPr>
          <p:nvPr userDrawn="1"/>
        </p:nvCxnSpPr>
        <p:spPr>
          <a:xfrm>
            <a:off x="6194425" y="2486026"/>
            <a:ext cx="51593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220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E8543-F5BB-468E-BC98-4DDC5D706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4940CE-9264-4EB6-875E-CF3F2E6E2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</p:spTree>
    <p:extLst>
      <p:ext uri="{BB962C8B-B14F-4D97-AF65-F5344CB8AC3E}">
        <p14:creationId xmlns:p14="http://schemas.microsoft.com/office/powerpoint/2010/main" val="2286046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8712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87B9D-17A3-4630-8E3C-F0E2BEC9E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6D23B0-8747-4E59-8C94-BA4B369613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A8FE25-E812-49F8-AEB6-032340FBCA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0AA457-3E03-4B14-99FA-D606002D20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2F5D77-3A57-44E9-964E-54157DCFD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4854A2-BF77-4E0A-9AA1-EB172B84B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2622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CB577-91C8-4AFD-85EB-19E337EE9C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287A05-1460-491B-82B7-37D2B928B6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EF33E8-A658-40DB-8929-655083D7FF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6DCE41-2B19-47CF-AD52-ECDE052CBC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4466B37-FD1C-4025-9D73-CA781A955E5D}" type="datetimeFigureOut">
              <a:rPr lang="en-US" smtClean="0"/>
              <a:t>9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441588-BD9C-4A2D-B947-7A43A75C1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FD792E-3992-45B9-8D1C-C6A1CABFA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92CD0E6-5BDA-4652-9E84-CFA9F60483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158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4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995BAD-3DE7-4AD1-A107-41FE6B7236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87009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128" imgH="127" progId="TCLayout.ActiveDocument.1">
                  <p:embed/>
                </p:oleObj>
              </mc:Choice>
              <mc:Fallback>
                <p:oleObj name="think-cell Slide" r:id="rId15" imgW="128" imgH="12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995BAD-3DE7-4AD1-A107-41FE6B7236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5B8BF5-3202-43FD-A47A-4DAF1BF88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F9C5DC-AA07-477A-977B-12E90DA42A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8A4AF6-B9E6-4D57-8E62-EDFA8ECEE0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www.thebiblicaltimeline.org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C20F304-FCA4-4E93-94F8-E15CF72941C4}"/>
              </a:ext>
            </a:extLst>
          </p:cNvPr>
          <p:cNvCxnSpPr/>
          <p:nvPr userDrawn="1"/>
        </p:nvCxnSpPr>
        <p:spPr>
          <a:xfrm>
            <a:off x="838200" y="904876"/>
            <a:ext cx="105156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8314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—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ü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microsoft.com/office/2007/relationships/media" Target="../media/media10.m4a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audio" Target="../media/media10.m4a"/><Relationship Id="rId9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5" Type="http://schemas.openxmlformats.org/officeDocument/2006/relationships/image" Target="../media/image3.png"/><Relationship Id="rId4" Type="http://schemas.openxmlformats.org/officeDocument/2006/relationships/image" Target="../media/image1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audio" Target="../media/media14.m4a"/><Relationship Id="rId2" Type="http://schemas.microsoft.com/office/2007/relationships/media" Target="../media/media14.m4a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5" Type="http://schemas.openxmlformats.org/officeDocument/2006/relationships/image" Target="../media/image3.png"/><Relationship Id="rId4" Type="http://schemas.openxmlformats.org/officeDocument/2006/relationships/image" Target="../media/image13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audio" Target="../media/media2.m4a"/><Relationship Id="rId7" Type="http://schemas.openxmlformats.org/officeDocument/2006/relationships/image" Target="../media/image6.jpeg"/><Relationship Id="rId2" Type="http://schemas.microsoft.com/office/2007/relationships/media" Target="../media/media2.m4a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3.m4a"/><Relationship Id="rId2" Type="http://schemas.microsoft.com/office/2007/relationships/media" Target="../media/media3.m4a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audio" Target="../media/media5.m4a"/><Relationship Id="rId2" Type="http://schemas.microsoft.com/office/2007/relationships/media" Target="../media/media5.m4a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audio" Target="../media/media6.m4a"/><Relationship Id="rId2" Type="http://schemas.microsoft.com/office/2007/relationships/media" Target="../media/media6.m4a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8.emf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audio" Target="../media/media7.m4a"/><Relationship Id="rId2" Type="http://schemas.microsoft.com/office/2007/relationships/media" Target="../media/media7.m4a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audio" Target="../media/media8.m4a"/><Relationship Id="rId2" Type="http://schemas.microsoft.com/office/2007/relationships/media" Target="../media/media8.m4a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0.emf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audio" Target="../media/media9.m4a"/><Relationship Id="rId2" Type="http://schemas.microsoft.com/office/2007/relationships/media" Target="../media/media9.m4a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8B4FC-43CF-45DB-8F9C-F04F3D3D0D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 of Biblical Chronolo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697460-F93C-47F8-8F07-12C63123AA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C9C0C949-564A-40C6-82E2-691179D715A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3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236"/>
    </mc:Choice>
    <mc:Fallback xmlns="">
      <p:transition spd="slow" advTm="2823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10B83F9-E39B-4748-B555-F63FDE3234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75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128" imgH="127" progId="TCLayout.ActiveDocument.1">
                  <p:embed/>
                </p:oleObj>
              </mc:Choice>
              <mc:Fallback>
                <p:oleObj name="think-cell Slide" r:id="rId6" imgW="128" imgH="12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10B83F9-E39B-4748-B555-F63FDE3234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D0445AD-1B0A-4EE8-ADF2-3F5B9B242A0C}"/>
              </a:ext>
            </a:extLst>
          </p:cNvPr>
          <p:cNvSpPr/>
          <p:nvPr/>
        </p:nvSpPr>
        <p:spPr>
          <a:xfrm>
            <a:off x="5916706" y="1745673"/>
            <a:ext cx="4190592" cy="1951046"/>
          </a:xfrm>
          <a:prstGeom prst="rect">
            <a:avLst/>
          </a:prstGeom>
          <a:gradFill flip="none" rotWithShape="1">
            <a:gsLst>
              <a:gs pos="50000">
                <a:srgbClr val="16A1B8"/>
              </a:gs>
              <a:gs pos="0">
                <a:srgbClr val="16A1B8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F9A528-CFF4-4AF6-AC0D-788FBEE2A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Exodus to Davi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6FDE4C-A659-4BA0-AE33-DB8F864454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9731" y="1070730"/>
            <a:ext cx="8640802" cy="54221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4FBF39C-4D50-44A4-9544-22DEE6052E47}"/>
              </a:ext>
            </a:extLst>
          </p:cNvPr>
          <p:cNvSpPr txBox="1"/>
          <p:nvPr/>
        </p:nvSpPr>
        <p:spPr>
          <a:xfrm rot="16200000">
            <a:off x="1254874" y="4410075"/>
            <a:ext cx="4603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57EEB0A-7963-4CC1-AA36-8CDA1282E086}"/>
              </a:ext>
            </a:extLst>
          </p:cNvPr>
          <p:cNvSpPr txBox="1"/>
          <p:nvPr/>
        </p:nvSpPr>
        <p:spPr>
          <a:xfrm rot="16200000">
            <a:off x="1255675" y="5602604"/>
            <a:ext cx="458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C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62DA83-F7CF-49FC-BD37-25D6313A9F38}"/>
              </a:ext>
            </a:extLst>
          </p:cNvPr>
          <p:cNvSpPr txBox="1"/>
          <p:nvPr/>
        </p:nvSpPr>
        <p:spPr>
          <a:xfrm>
            <a:off x="9708029" y="3597136"/>
            <a:ext cx="21601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undation of the temple 966 B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78E78C-56C7-4BFC-A5AA-4EDCEB3FAE25}"/>
              </a:ext>
            </a:extLst>
          </p:cNvPr>
          <p:cNvSpPr txBox="1"/>
          <p:nvPr/>
        </p:nvSpPr>
        <p:spPr>
          <a:xfrm>
            <a:off x="174263" y="3628744"/>
            <a:ext cx="18315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odus 1446 BC</a:t>
            </a:r>
          </a:p>
        </p:txBody>
      </p: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DD3D61BC-DF72-4534-8A85-78314ADB8B09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650F48C-20D0-4B7C-AD12-3E643DECB211}"/>
              </a:ext>
            </a:extLst>
          </p:cNvPr>
          <p:cNvSpPr txBox="1"/>
          <p:nvPr/>
        </p:nvSpPr>
        <p:spPr>
          <a:xfrm>
            <a:off x="9399476" y="1712812"/>
            <a:ext cx="707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gy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349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4216"/>
    </mc:Choice>
    <mc:Fallback xmlns="">
      <p:transition spd="slow" advTm="3342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6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  <p:bldLst>
      <p:bldP spid="7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1D425-A558-4A16-93E5-ECB286AB6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long was Israel in Egyp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CC1547-8C11-4E66-BAE6-2A628FDD26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12965"/>
            <a:ext cx="518160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Now the sojourn of the children of Israel who lived in Egypt was four hundred and thirty years (Exodus 12:40, Masoretic text – NKJV)</a:t>
            </a: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>Now the time that the children of Israel lived in the land of Egypt was four hundred thirty years (Exodus 12:40, Dead Sea Scrolls 4Q14, 2Q2 – dssenglishbible.com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160408-9C7D-4DC3-8160-215C4EE752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12965"/>
            <a:ext cx="5181600" cy="4351338"/>
          </a:xfrm>
        </p:spPr>
        <p:txBody>
          <a:bodyPr>
            <a:normAutofit/>
          </a:bodyPr>
          <a:lstStyle/>
          <a:p>
            <a:r>
              <a:rPr lang="en-US" sz="1800" dirty="0"/>
              <a:t>Now the residence of the sons of Israel during which they dwelt in the land, Egypt, </a:t>
            </a:r>
            <a:r>
              <a:rPr lang="en-US" sz="1800" dirty="0">
                <a:solidFill>
                  <a:schemeClr val="accent1"/>
                </a:solidFill>
              </a:rPr>
              <a:t>and in the land of </a:t>
            </a:r>
            <a:r>
              <a:rPr lang="en-US" sz="1800" dirty="0" err="1">
                <a:solidFill>
                  <a:schemeClr val="accent1"/>
                </a:solidFill>
              </a:rPr>
              <a:t>Chanaan</a:t>
            </a:r>
            <a:r>
              <a:rPr lang="en-US" sz="1800" dirty="0"/>
              <a:t>, was four hundred and thirty years. (Exodus 12:40, Septuagint – NETS)</a:t>
            </a:r>
          </a:p>
          <a:p>
            <a:r>
              <a:rPr lang="en-US" sz="1800" dirty="0"/>
              <a:t>And this I say, that the law, which was four hundred and thirty years later [after the promise to Abraham], cannot annul the covenant that was confirmed before by God in Christ, that it should make the promise of no effect (Galatians 3:17 – NKJV)</a:t>
            </a:r>
          </a:p>
          <a:p>
            <a:r>
              <a:rPr lang="en-US" sz="1800" dirty="0"/>
              <a:t>They left Egypt in the month </a:t>
            </a:r>
            <a:r>
              <a:rPr lang="en-US" sz="1800" dirty="0" err="1"/>
              <a:t>Xanthicus</a:t>
            </a:r>
            <a:r>
              <a:rPr lang="en-US" sz="1800" dirty="0"/>
              <a:t>, on the fifteenth day of the lunar month; four hundred and thirty years after our forefather Abraham came into Canaan, but two hundred and fifteen years only after Jacob removed into Egypt (Josephus, Ant Book II XV:2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EE46F7-C3FB-4B37-9A80-77F175BD88AA}"/>
              </a:ext>
            </a:extLst>
          </p:cNvPr>
          <p:cNvSpPr txBox="1"/>
          <p:nvPr/>
        </p:nvSpPr>
        <p:spPr>
          <a:xfrm>
            <a:off x="2630255" y="5964303"/>
            <a:ext cx="17962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</a:rPr>
              <a:t>430 Yea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88354E-4C30-49DA-9B7D-B669DFC3AB3A}"/>
              </a:ext>
            </a:extLst>
          </p:cNvPr>
          <p:cNvSpPr txBox="1"/>
          <p:nvPr/>
        </p:nvSpPr>
        <p:spPr>
          <a:xfrm>
            <a:off x="7964255" y="5964303"/>
            <a:ext cx="17962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</a:rPr>
              <a:t>215 Year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6B263A3-1699-4599-B8D6-E95DE4A23C8D}"/>
              </a:ext>
            </a:extLst>
          </p:cNvPr>
          <p:cNvSpPr txBox="1">
            <a:spLocks/>
          </p:cNvSpPr>
          <p:nvPr/>
        </p:nvSpPr>
        <p:spPr>
          <a:xfrm>
            <a:off x="839788" y="1234595"/>
            <a:ext cx="5157787" cy="376237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4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accent4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4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4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Long Sojour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DD7E0FC-1334-4011-8EDD-59B3B327DDF0}"/>
              </a:ext>
            </a:extLst>
          </p:cNvPr>
          <p:cNvSpPr txBox="1">
            <a:spLocks/>
          </p:cNvSpPr>
          <p:nvPr/>
        </p:nvSpPr>
        <p:spPr>
          <a:xfrm>
            <a:off x="6172200" y="1234595"/>
            <a:ext cx="5183188" cy="3762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tx1"/>
                </a:solidFill>
              </a:rPr>
              <a:t>Short Sojour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3E23716-355B-4F43-8920-CAA3D0CD3034}"/>
              </a:ext>
            </a:extLst>
          </p:cNvPr>
          <p:cNvCxnSpPr/>
          <p:nvPr/>
        </p:nvCxnSpPr>
        <p:spPr>
          <a:xfrm>
            <a:off x="839788" y="1610832"/>
            <a:ext cx="518318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DB74EF-02E7-4571-A3F6-0DE2B75B8B96}"/>
              </a:ext>
            </a:extLst>
          </p:cNvPr>
          <p:cNvCxnSpPr/>
          <p:nvPr/>
        </p:nvCxnSpPr>
        <p:spPr>
          <a:xfrm>
            <a:off x="6172200" y="1610832"/>
            <a:ext cx="518318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DE54D711-3724-40D8-8968-CF31792885B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6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4616"/>
    </mc:Choice>
    <mc:Fallback xmlns="">
      <p:transition spd="slow" advTm="846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14F63-08F4-4626-911D-BC0F206AE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raham to the descent into Egypt: 215 year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4BE5646-8437-471A-874D-5C7094AA4697}"/>
              </a:ext>
            </a:extLst>
          </p:cNvPr>
          <p:cNvSpPr>
            <a:spLocks noEditPoints="1"/>
          </p:cNvSpPr>
          <p:nvPr/>
        </p:nvSpPr>
        <p:spPr bwMode="auto">
          <a:xfrm>
            <a:off x="2479675" y="3182938"/>
            <a:ext cx="15875" cy="2193925"/>
          </a:xfrm>
          <a:custGeom>
            <a:avLst/>
            <a:gdLst>
              <a:gd name="T0" fmla="*/ 8 w 16"/>
              <a:gd name="T1" fmla="*/ 0 h 2231"/>
              <a:gd name="T2" fmla="*/ 0 w 16"/>
              <a:gd name="T3" fmla="*/ 56 h 2231"/>
              <a:gd name="T4" fmla="*/ 0 w 16"/>
              <a:gd name="T5" fmla="*/ 120 h 2231"/>
              <a:gd name="T6" fmla="*/ 8 w 16"/>
              <a:gd name="T7" fmla="*/ 176 h 2231"/>
              <a:gd name="T8" fmla="*/ 16 w 16"/>
              <a:gd name="T9" fmla="*/ 216 h 2231"/>
              <a:gd name="T10" fmla="*/ 16 w 16"/>
              <a:gd name="T11" fmla="*/ 248 h 2231"/>
              <a:gd name="T12" fmla="*/ 16 w 16"/>
              <a:gd name="T13" fmla="*/ 248 h 2231"/>
              <a:gd name="T14" fmla="*/ 8 w 16"/>
              <a:gd name="T15" fmla="*/ 288 h 2231"/>
              <a:gd name="T16" fmla="*/ 0 w 16"/>
              <a:gd name="T17" fmla="*/ 344 h 2231"/>
              <a:gd name="T18" fmla="*/ 0 w 16"/>
              <a:gd name="T19" fmla="*/ 408 h 2231"/>
              <a:gd name="T20" fmla="*/ 8 w 16"/>
              <a:gd name="T21" fmla="*/ 464 h 2231"/>
              <a:gd name="T22" fmla="*/ 16 w 16"/>
              <a:gd name="T23" fmla="*/ 504 h 2231"/>
              <a:gd name="T24" fmla="*/ 16 w 16"/>
              <a:gd name="T25" fmla="*/ 536 h 2231"/>
              <a:gd name="T26" fmla="*/ 16 w 16"/>
              <a:gd name="T27" fmla="*/ 536 h 2231"/>
              <a:gd name="T28" fmla="*/ 8 w 16"/>
              <a:gd name="T29" fmla="*/ 576 h 2231"/>
              <a:gd name="T30" fmla="*/ 0 w 16"/>
              <a:gd name="T31" fmla="*/ 632 h 2231"/>
              <a:gd name="T32" fmla="*/ 0 w 16"/>
              <a:gd name="T33" fmla="*/ 696 h 2231"/>
              <a:gd name="T34" fmla="*/ 8 w 16"/>
              <a:gd name="T35" fmla="*/ 752 h 2231"/>
              <a:gd name="T36" fmla="*/ 16 w 16"/>
              <a:gd name="T37" fmla="*/ 792 h 2231"/>
              <a:gd name="T38" fmla="*/ 16 w 16"/>
              <a:gd name="T39" fmla="*/ 824 h 2231"/>
              <a:gd name="T40" fmla="*/ 16 w 16"/>
              <a:gd name="T41" fmla="*/ 824 h 2231"/>
              <a:gd name="T42" fmla="*/ 8 w 16"/>
              <a:gd name="T43" fmla="*/ 864 h 2231"/>
              <a:gd name="T44" fmla="*/ 0 w 16"/>
              <a:gd name="T45" fmla="*/ 920 h 2231"/>
              <a:gd name="T46" fmla="*/ 0 w 16"/>
              <a:gd name="T47" fmla="*/ 984 h 2231"/>
              <a:gd name="T48" fmla="*/ 8 w 16"/>
              <a:gd name="T49" fmla="*/ 1040 h 2231"/>
              <a:gd name="T50" fmla="*/ 16 w 16"/>
              <a:gd name="T51" fmla="*/ 1080 h 2231"/>
              <a:gd name="T52" fmla="*/ 16 w 16"/>
              <a:gd name="T53" fmla="*/ 1112 h 2231"/>
              <a:gd name="T54" fmla="*/ 16 w 16"/>
              <a:gd name="T55" fmla="*/ 1112 h 2231"/>
              <a:gd name="T56" fmla="*/ 8 w 16"/>
              <a:gd name="T57" fmla="*/ 1152 h 2231"/>
              <a:gd name="T58" fmla="*/ 0 w 16"/>
              <a:gd name="T59" fmla="*/ 1208 h 2231"/>
              <a:gd name="T60" fmla="*/ 0 w 16"/>
              <a:gd name="T61" fmla="*/ 1272 h 2231"/>
              <a:gd name="T62" fmla="*/ 8 w 16"/>
              <a:gd name="T63" fmla="*/ 1328 h 2231"/>
              <a:gd name="T64" fmla="*/ 16 w 16"/>
              <a:gd name="T65" fmla="*/ 1368 h 2231"/>
              <a:gd name="T66" fmla="*/ 16 w 16"/>
              <a:gd name="T67" fmla="*/ 1400 h 2231"/>
              <a:gd name="T68" fmla="*/ 16 w 16"/>
              <a:gd name="T69" fmla="*/ 1400 h 2231"/>
              <a:gd name="T70" fmla="*/ 8 w 16"/>
              <a:gd name="T71" fmla="*/ 1440 h 2231"/>
              <a:gd name="T72" fmla="*/ 0 w 16"/>
              <a:gd name="T73" fmla="*/ 1496 h 2231"/>
              <a:gd name="T74" fmla="*/ 0 w 16"/>
              <a:gd name="T75" fmla="*/ 1560 h 2231"/>
              <a:gd name="T76" fmla="*/ 8 w 16"/>
              <a:gd name="T77" fmla="*/ 1616 h 2231"/>
              <a:gd name="T78" fmla="*/ 16 w 16"/>
              <a:gd name="T79" fmla="*/ 1656 h 2231"/>
              <a:gd name="T80" fmla="*/ 16 w 16"/>
              <a:gd name="T81" fmla="*/ 1688 h 2231"/>
              <a:gd name="T82" fmla="*/ 16 w 16"/>
              <a:gd name="T83" fmla="*/ 1688 h 2231"/>
              <a:gd name="T84" fmla="*/ 8 w 16"/>
              <a:gd name="T85" fmla="*/ 1728 h 2231"/>
              <a:gd name="T86" fmla="*/ 0 w 16"/>
              <a:gd name="T87" fmla="*/ 1784 h 2231"/>
              <a:gd name="T88" fmla="*/ 0 w 16"/>
              <a:gd name="T89" fmla="*/ 1848 h 2231"/>
              <a:gd name="T90" fmla="*/ 8 w 16"/>
              <a:gd name="T91" fmla="*/ 1904 h 2231"/>
              <a:gd name="T92" fmla="*/ 16 w 16"/>
              <a:gd name="T93" fmla="*/ 1944 h 2231"/>
              <a:gd name="T94" fmla="*/ 16 w 16"/>
              <a:gd name="T95" fmla="*/ 1976 h 2231"/>
              <a:gd name="T96" fmla="*/ 16 w 16"/>
              <a:gd name="T97" fmla="*/ 1976 h 2231"/>
              <a:gd name="T98" fmla="*/ 8 w 16"/>
              <a:gd name="T99" fmla="*/ 2016 h 2231"/>
              <a:gd name="T100" fmla="*/ 0 w 16"/>
              <a:gd name="T101" fmla="*/ 2072 h 2231"/>
              <a:gd name="T102" fmla="*/ 0 w 16"/>
              <a:gd name="T103" fmla="*/ 2136 h 2231"/>
              <a:gd name="T104" fmla="*/ 8 w 16"/>
              <a:gd name="T105" fmla="*/ 2192 h 2231"/>
              <a:gd name="T106" fmla="*/ 16 w 16"/>
              <a:gd name="T107" fmla="*/ 2223 h 2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" h="2231">
                <a:moveTo>
                  <a:pt x="16" y="8"/>
                </a:moveTo>
                <a:lnTo>
                  <a:pt x="16" y="24"/>
                </a:lnTo>
                <a:cubicBezTo>
                  <a:pt x="16" y="29"/>
                  <a:pt x="13" y="32"/>
                  <a:pt x="8" y="32"/>
                </a:cubicBezTo>
                <a:cubicBezTo>
                  <a:pt x="4" y="32"/>
                  <a:pt x="0" y="29"/>
                  <a:pt x="0" y="24"/>
                </a:cubicBez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lose/>
                <a:moveTo>
                  <a:pt x="16" y="56"/>
                </a:moveTo>
                <a:lnTo>
                  <a:pt x="16" y="72"/>
                </a:lnTo>
                <a:cubicBezTo>
                  <a:pt x="16" y="77"/>
                  <a:pt x="13" y="80"/>
                  <a:pt x="8" y="80"/>
                </a:cubicBezTo>
                <a:cubicBezTo>
                  <a:pt x="4" y="80"/>
                  <a:pt x="0" y="77"/>
                  <a:pt x="0" y="72"/>
                </a:cubicBezTo>
                <a:lnTo>
                  <a:pt x="0" y="56"/>
                </a:lnTo>
                <a:cubicBezTo>
                  <a:pt x="0" y="52"/>
                  <a:pt x="4" y="48"/>
                  <a:pt x="8" y="48"/>
                </a:cubicBezTo>
                <a:cubicBezTo>
                  <a:pt x="13" y="48"/>
                  <a:pt x="16" y="52"/>
                  <a:pt x="16" y="56"/>
                </a:cubicBezTo>
                <a:close/>
                <a:moveTo>
                  <a:pt x="16" y="104"/>
                </a:moveTo>
                <a:lnTo>
                  <a:pt x="16" y="120"/>
                </a:lnTo>
                <a:cubicBezTo>
                  <a:pt x="16" y="125"/>
                  <a:pt x="13" y="128"/>
                  <a:pt x="8" y="128"/>
                </a:cubicBezTo>
                <a:cubicBezTo>
                  <a:pt x="4" y="128"/>
                  <a:pt x="0" y="125"/>
                  <a:pt x="0" y="120"/>
                </a:cubicBezTo>
                <a:lnTo>
                  <a:pt x="0" y="104"/>
                </a:lnTo>
                <a:cubicBezTo>
                  <a:pt x="0" y="100"/>
                  <a:pt x="4" y="96"/>
                  <a:pt x="8" y="96"/>
                </a:cubicBezTo>
                <a:cubicBezTo>
                  <a:pt x="13" y="96"/>
                  <a:pt x="16" y="100"/>
                  <a:pt x="16" y="104"/>
                </a:cubicBezTo>
                <a:close/>
                <a:moveTo>
                  <a:pt x="16" y="152"/>
                </a:moveTo>
                <a:lnTo>
                  <a:pt x="16" y="168"/>
                </a:lnTo>
                <a:cubicBezTo>
                  <a:pt x="16" y="173"/>
                  <a:pt x="13" y="176"/>
                  <a:pt x="8" y="176"/>
                </a:cubicBezTo>
                <a:cubicBezTo>
                  <a:pt x="4" y="176"/>
                  <a:pt x="0" y="173"/>
                  <a:pt x="0" y="168"/>
                </a:cubicBezTo>
                <a:lnTo>
                  <a:pt x="0" y="152"/>
                </a:lnTo>
                <a:cubicBezTo>
                  <a:pt x="0" y="148"/>
                  <a:pt x="4" y="144"/>
                  <a:pt x="8" y="144"/>
                </a:cubicBezTo>
                <a:cubicBezTo>
                  <a:pt x="13" y="144"/>
                  <a:pt x="16" y="148"/>
                  <a:pt x="16" y="152"/>
                </a:cubicBezTo>
                <a:close/>
                <a:moveTo>
                  <a:pt x="16" y="200"/>
                </a:moveTo>
                <a:lnTo>
                  <a:pt x="16" y="216"/>
                </a:lnTo>
                <a:cubicBezTo>
                  <a:pt x="16" y="221"/>
                  <a:pt x="13" y="224"/>
                  <a:pt x="8" y="224"/>
                </a:cubicBezTo>
                <a:cubicBezTo>
                  <a:pt x="4" y="224"/>
                  <a:pt x="0" y="221"/>
                  <a:pt x="0" y="216"/>
                </a:cubicBezTo>
                <a:lnTo>
                  <a:pt x="0" y="200"/>
                </a:lnTo>
                <a:cubicBezTo>
                  <a:pt x="0" y="196"/>
                  <a:pt x="4" y="192"/>
                  <a:pt x="8" y="192"/>
                </a:cubicBezTo>
                <a:cubicBezTo>
                  <a:pt x="13" y="192"/>
                  <a:pt x="16" y="196"/>
                  <a:pt x="16" y="200"/>
                </a:cubicBezTo>
                <a:close/>
                <a:moveTo>
                  <a:pt x="16" y="248"/>
                </a:moveTo>
                <a:lnTo>
                  <a:pt x="16" y="264"/>
                </a:lnTo>
                <a:cubicBezTo>
                  <a:pt x="16" y="269"/>
                  <a:pt x="13" y="272"/>
                  <a:pt x="8" y="272"/>
                </a:cubicBezTo>
                <a:cubicBezTo>
                  <a:pt x="4" y="272"/>
                  <a:pt x="0" y="269"/>
                  <a:pt x="0" y="264"/>
                </a:cubicBezTo>
                <a:lnTo>
                  <a:pt x="0" y="248"/>
                </a:lnTo>
                <a:cubicBezTo>
                  <a:pt x="0" y="244"/>
                  <a:pt x="4" y="240"/>
                  <a:pt x="8" y="240"/>
                </a:cubicBezTo>
                <a:cubicBezTo>
                  <a:pt x="13" y="240"/>
                  <a:pt x="16" y="244"/>
                  <a:pt x="16" y="248"/>
                </a:cubicBezTo>
                <a:close/>
                <a:moveTo>
                  <a:pt x="16" y="296"/>
                </a:moveTo>
                <a:lnTo>
                  <a:pt x="16" y="312"/>
                </a:lnTo>
                <a:cubicBezTo>
                  <a:pt x="16" y="317"/>
                  <a:pt x="13" y="320"/>
                  <a:pt x="8" y="320"/>
                </a:cubicBezTo>
                <a:cubicBezTo>
                  <a:pt x="4" y="320"/>
                  <a:pt x="0" y="317"/>
                  <a:pt x="0" y="312"/>
                </a:cubicBezTo>
                <a:lnTo>
                  <a:pt x="0" y="296"/>
                </a:lnTo>
                <a:cubicBezTo>
                  <a:pt x="0" y="292"/>
                  <a:pt x="4" y="288"/>
                  <a:pt x="8" y="288"/>
                </a:cubicBezTo>
                <a:cubicBezTo>
                  <a:pt x="13" y="288"/>
                  <a:pt x="16" y="292"/>
                  <a:pt x="16" y="296"/>
                </a:cubicBezTo>
                <a:close/>
                <a:moveTo>
                  <a:pt x="16" y="344"/>
                </a:moveTo>
                <a:lnTo>
                  <a:pt x="16" y="360"/>
                </a:lnTo>
                <a:cubicBezTo>
                  <a:pt x="16" y="365"/>
                  <a:pt x="13" y="368"/>
                  <a:pt x="8" y="368"/>
                </a:cubicBezTo>
                <a:cubicBezTo>
                  <a:pt x="4" y="368"/>
                  <a:pt x="0" y="365"/>
                  <a:pt x="0" y="360"/>
                </a:cubicBezTo>
                <a:lnTo>
                  <a:pt x="0" y="344"/>
                </a:lnTo>
                <a:cubicBezTo>
                  <a:pt x="0" y="340"/>
                  <a:pt x="4" y="336"/>
                  <a:pt x="8" y="336"/>
                </a:cubicBezTo>
                <a:cubicBezTo>
                  <a:pt x="13" y="336"/>
                  <a:pt x="16" y="340"/>
                  <a:pt x="16" y="344"/>
                </a:cubicBezTo>
                <a:close/>
                <a:moveTo>
                  <a:pt x="16" y="392"/>
                </a:moveTo>
                <a:lnTo>
                  <a:pt x="16" y="408"/>
                </a:lnTo>
                <a:cubicBezTo>
                  <a:pt x="16" y="413"/>
                  <a:pt x="13" y="416"/>
                  <a:pt x="8" y="416"/>
                </a:cubicBezTo>
                <a:cubicBezTo>
                  <a:pt x="4" y="416"/>
                  <a:pt x="0" y="413"/>
                  <a:pt x="0" y="408"/>
                </a:cubicBezTo>
                <a:lnTo>
                  <a:pt x="0" y="392"/>
                </a:lnTo>
                <a:cubicBezTo>
                  <a:pt x="0" y="388"/>
                  <a:pt x="4" y="384"/>
                  <a:pt x="8" y="384"/>
                </a:cubicBezTo>
                <a:cubicBezTo>
                  <a:pt x="13" y="384"/>
                  <a:pt x="16" y="388"/>
                  <a:pt x="16" y="392"/>
                </a:cubicBezTo>
                <a:close/>
                <a:moveTo>
                  <a:pt x="16" y="440"/>
                </a:moveTo>
                <a:lnTo>
                  <a:pt x="16" y="456"/>
                </a:lnTo>
                <a:cubicBezTo>
                  <a:pt x="16" y="461"/>
                  <a:pt x="13" y="464"/>
                  <a:pt x="8" y="464"/>
                </a:cubicBezTo>
                <a:cubicBezTo>
                  <a:pt x="4" y="464"/>
                  <a:pt x="0" y="461"/>
                  <a:pt x="0" y="456"/>
                </a:cubicBezTo>
                <a:lnTo>
                  <a:pt x="0" y="440"/>
                </a:lnTo>
                <a:cubicBezTo>
                  <a:pt x="0" y="436"/>
                  <a:pt x="4" y="432"/>
                  <a:pt x="8" y="432"/>
                </a:cubicBezTo>
                <a:cubicBezTo>
                  <a:pt x="13" y="432"/>
                  <a:pt x="16" y="436"/>
                  <a:pt x="16" y="440"/>
                </a:cubicBezTo>
                <a:close/>
                <a:moveTo>
                  <a:pt x="16" y="488"/>
                </a:moveTo>
                <a:lnTo>
                  <a:pt x="16" y="504"/>
                </a:lnTo>
                <a:cubicBezTo>
                  <a:pt x="16" y="509"/>
                  <a:pt x="13" y="512"/>
                  <a:pt x="8" y="512"/>
                </a:cubicBezTo>
                <a:cubicBezTo>
                  <a:pt x="4" y="512"/>
                  <a:pt x="0" y="509"/>
                  <a:pt x="0" y="504"/>
                </a:cubicBezTo>
                <a:lnTo>
                  <a:pt x="0" y="488"/>
                </a:lnTo>
                <a:cubicBezTo>
                  <a:pt x="0" y="484"/>
                  <a:pt x="4" y="480"/>
                  <a:pt x="8" y="480"/>
                </a:cubicBezTo>
                <a:cubicBezTo>
                  <a:pt x="13" y="480"/>
                  <a:pt x="16" y="484"/>
                  <a:pt x="16" y="488"/>
                </a:cubicBezTo>
                <a:close/>
                <a:moveTo>
                  <a:pt x="16" y="536"/>
                </a:moveTo>
                <a:lnTo>
                  <a:pt x="16" y="552"/>
                </a:lnTo>
                <a:cubicBezTo>
                  <a:pt x="16" y="557"/>
                  <a:pt x="13" y="560"/>
                  <a:pt x="8" y="560"/>
                </a:cubicBezTo>
                <a:cubicBezTo>
                  <a:pt x="4" y="560"/>
                  <a:pt x="0" y="557"/>
                  <a:pt x="0" y="552"/>
                </a:cubicBezTo>
                <a:lnTo>
                  <a:pt x="0" y="536"/>
                </a:lnTo>
                <a:cubicBezTo>
                  <a:pt x="0" y="532"/>
                  <a:pt x="4" y="528"/>
                  <a:pt x="8" y="528"/>
                </a:cubicBezTo>
                <a:cubicBezTo>
                  <a:pt x="13" y="528"/>
                  <a:pt x="16" y="532"/>
                  <a:pt x="16" y="536"/>
                </a:cubicBezTo>
                <a:close/>
                <a:moveTo>
                  <a:pt x="16" y="584"/>
                </a:moveTo>
                <a:lnTo>
                  <a:pt x="16" y="600"/>
                </a:lnTo>
                <a:cubicBezTo>
                  <a:pt x="16" y="605"/>
                  <a:pt x="13" y="608"/>
                  <a:pt x="8" y="608"/>
                </a:cubicBezTo>
                <a:cubicBezTo>
                  <a:pt x="4" y="608"/>
                  <a:pt x="0" y="605"/>
                  <a:pt x="0" y="600"/>
                </a:cubicBezTo>
                <a:lnTo>
                  <a:pt x="0" y="584"/>
                </a:lnTo>
                <a:cubicBezTo>
                  <a:pt x="0" y="580"/>
                  <a:pt x="4" y="576"/>
                  <a:pt x="8" y="576"/>
                </a:cubicBezTo>
                <a:cubicBezTo>
                  <a:pt x="13" y="576"/>
                  <a:pt x="16" y="580"/>
                  <a:pt x="16" y="584"/>
                </a:cubicBezTo>
                <a:close/>
                <a:moveTo>
                  <a:pt x="16" y="632"/>
                </a:moveTo>
                <a:lnTo>
                  <a:pt x="16" y="648"/>
                </a:lnTo>
                <a:cubicBezTo>
                  <a:pt x="16" y="653"/>
                  <a:pt x="13" y="656"/>
                  <a:pt x="8" y="656"/>
                </a:cubicBezTo>
                <a:cubicBezTo>
                  <a:pt x="4" y="656"/>
                  <a:pt x="0" y="653"/>
                  <a:pt x="0" y="648"/>
                </a:cubicBezTo>
                <a:lnTo>
                  <a:pt x="0" y="632"/>
                </a:lnTo>
                <a:cubicBezTo>
                  <a:pt x="0" y="628"/>
                  <a:pt x="4" y="624"/>
                  <a:pt x="8" y="624"/>
                </a:cubicBezTo>
                <a:cubicBezTo>
                  <a:pt x="13" y="624"/>
                  <a:pt x="16" y="628"/>
                  <a:pt x="16" y="632"/>
                </a:cubicBezTo>
                <a:close/>
                <a:moveTo>
                  <a:pt x="16" y="680"/>
                </a:moveTo>
                <a:lnTo>
                  <a:pt x="16" y="696"/>
                </a:lnTo>
                <a:cubicBezTo>
                  <a:pt x="16" y="701"/>
                  <a:pt x="13" y="704"/>
                  <a:pt x="8" y="704"/>
                </a:cubicBezTo>
                <a:cubicBezTo>
                  <a:pt x="4" y="704"/>
                  <a:pt x="0" y="701"/>
                  <a:pt x="0" y="696"/>
                </a:cubicBezTo>
                <a:lnTo>
                  <a:pt x="0" y="680"/>
                </a:lnTo>
                <a:cubicBezTo>
                  <a:pt x="0" y="676"/>
                  <a:pt x="4" y="672"/>
                  <a:pt x="8" y="672"/>
                </a:cubicBezTo>
                <a:cubicBezTo>
                  <a:pt x="13" y="672"/>
                  <a:pt x="16" y="676"/>
                  <a:pt x="16" y="680"/>
                </a:cubicBezTo>
                <a:close/>
                <a:moveTo>
                  <a:pt x="16" y="728"/>
                </a:moveTo>
                <a:lnTo>
                  <a:pt x="16" y="744"/>
                </a:lnTo>
                <a:cubicBezTo>
                  <a:pt x="16" y="749"/>
                  <a:pt x="13" y="752"/>
                  <a:pt x="8" y="752"/>
                </a:cubicBezTo>
                <a:cubicBezTo>
                  <a:pt x="4" y="752"/>
                  <a:pt x="0" y="749"/>
                  <a:pt x="0" y="744"/>
                </a:cubicBezTo>
                <a:lnTo>
                  <a:pt x="0" y="728"/>
                </a:lnTo>
                <a:cubicBezTo>
                  <a:pt x="0" y="724"/>
                  <a:pt x="4" y="720"/>
                  <a:pt x="8" y="720"/>
                </a:cubicBezTo>
                <a:cubicBezTo>
                  <a:pt x="13" y="720"/>
                  <a:pt x="16" y="724"/>
                  <a:pt x="16" y="728"/>
                </a:cubicBezTo>
                <a:close/>
                <a:moveTo>
                  <a:pt x="16" y="776"/>
                </a:moveTo>
                <a:lnTo>
                  <a:pt x="16" y="792"/>
                </a:lnTo>
                <a:cubicBezTo>
                  <a:pt x="16" y="797"/>
                  <a:pt x="13" y="800"/>
                  <a:pt x="8" y="800"/>
                </a:cubicBezTo>
                <a:cubicBezTo>
                  <a:pt x="4" y="800"/>
                  <a:pt x="0" y="797"/>
                  <a:pt x="0" y="792"/>
                </a:cubicBezTo>
                <a:lnTo>
                  <a:pt x="0" y="776"/>
                </a:lnTo>
                <a:cubicBezTo>
                  <a:pt x="0" y="772"/>
                  <a:pt x="4" y="768"/>
                  <a:pt x="8" y="768"/>
                </a:cubicBezTo>
                <a:cubicBezTo>
                  <a:pt x="13" y="768"/>
                  <a:pt x="16" y="772"/>
                  <a:pt x="16" y="776"/>
                </a:cubicBezTo>
                <a:close/>
                <a:moveTo>
                  <a:pt x="16" y="824"/>
                </a:moveTo>
                <a:lnTo>
                  <a:pt x="16" y="840"/>
                </a:lnTo>
                <a:cubicBezTo>
                  <a:pt x="16" y="845"/>
                  <a:pt x="13" y="848"/>
                  <a:pt x="8" y="848"/>
                </a:cubicBezTo>
                <a:cubicBezTo>
                  <a:pt x="4" y="848"/>
                  <a:pt x="0" y="845"/>
                  <a:pt x="0" y="840"/>
                </a:cubicBezTo>
                <a:lnTo>
                  <a:pt x="0" y="824"/>
                </a:lnTo>
                <a:cubicBezTo>
                  <a:pt x="0" y="820"/>
                  <a:pt x="4" y="816"/>
                  <a:pt x="8" y="816"/>
                </a:cubicBezTo>
                <a:cubicBezTo>
                  <a:pt x="13" y="816"/>
                  <a:pt x="16" y="820"/>
                  <a:pt x="16" y="824"/>
                </a:cubicBezTo>
                <a:close/>
                <a:moveTo>
                  <a:pt x="16" y="872"/>
                </a:moveTo>
                <a:lnTo>
                  <a:pt x="16" y="888"/>
                </a:lnTo>
                <a:cubicBezTo>
                  <a:pt x="16" y="893"/>
                  <a:pt x="13" y="896"/>
                  <a:pt x="8" y="896"/>
                </a:cubicBezTo>
                <a:cubicBezTo>
                  <a:pt x="4" y="896"/>
                  <a:pt x="0" y="893"/>
                  <a:pt x="0" y="888"/>
                </a:cubicBezTo>
                <a:lnTo>
                  <a:pt x="0" y="872"/>
                </a:lnTo>
                <a:cubicBezTo>
                  <a:pt x="0" y="868"/>
                  <a:pt x="4" y="864"/>
                  <a:pt x="8" y="864"/>
                </a:cubicBezTo>
                <a:cubicBezTo>
                  <a:pt x="13" y="864"/>
                  <a:pt x="16" y="868"/>
                  <a:pt x="16" y="872"/>
                </a:cubicBezTo>
                <a:close/>
                <a:moveTo>
                  <a:pt x="16" y="920"/>
                </a:moveTo>
                <a:lnTo>
                  <a:pt x="16" y="936"/>
                </a:lnTo>
                <a:cubicBezTo>
                  <a:pt x="16" y="941"/>
                  <a:pt x="13" y="944"/>
                  <a:pt x="8" y="944"/>
                </a:cubicBezTo>
                <a:cubicBezTo>
                  <a:pt x="4" y="944"/>
                  <a:pt x="0" y="941"/>
                  <a:pt x="0" y="936"/>
                </a:cubicBezTo>
                <a:lnTo>
                  <a:pt x="0" y="920"/>
                </a:lnTo>
                <a:cubicBezTo>
                  <a:pt x="0" y="916"/>
                  <a:pt x="4" y="912"/>
                  <a:pt x="8" y="912"/>
                </a:cubicBezTo>
                <a:cubicBezTo>
                  <a:pt x="13" y="912"/>
                  <a:pt x="16" y="916"/>
                  <a:pt x="16" y="920"/>
                </a:cubicBezTo>
                <a:close/>
                <a:moveTo>
                  <a:pt x="16" y="968"/>
                </a:moveTo>
                <a:lnTo>
                  <a:pt x="16" y="984"/>
                </a:lnTo>
                <a:cubicBezTo>
                  <a:pt x="16" y="989"/>
                  <a:pt x="13" y="992"/>
                  <a:pt x="8" y="992"/>
                </a:cubicBezTo>
                <a:cubicBezTo>
                  <a:pt x="4" y="992"/>
                  <a:pt x="0" y="989"/>
                  <a:pt x="0" y="984"/>
                </a:cubicBezTo>
                <a:lnTo>
                  <a:pt x="0" y="968"/>
                </a:lnTo>
                <a:cubicBezTo>
                  <a:pt x="0" y="964"/>
                  <a:pt x="4" y="960"/>
                  <a:pt x="8" y="960"/>
                </a:cubicBezTo>
                <a:cubicBezTo>
                  <a:pt x="13" y="960"/>
                  <a:pt x="16" y="964"/>
                  <a:pt x="16" y="968"/>
                </a:cubicBezTo>
                <a:close/>
                <a:moveTo>
                  <a:pt x="16" y="1016"/>
                </a:moveTo>
                <a:lnTo>
                  <a:pt x="16" y="1032"/>
                </a:lnTo>
                <a:cubicBezTo>
                  <a:pt x="16" y="1037"/>
                  <a:pt x="13" y="1040"/>
                  <a:pt x="8" y="1040"/>
                </a:cubicBezTo>
                <a:cubicBezTo>
                  <a:pt x="4" y="1040"/>
                  <a:pt x="0" y="1037"/>
                  <a:pt x="0" y="1032"/>
                </a:cubicBezTo>
                <a:lnTo>
                  <a:pt x="0" y="1016"/>
                </a:lnTo>
                <a:cubicBezTo>
                  <a:pt x="0" y="1012"/>
                  <a:pt x="4" y="1008"/>
                  <a:pt x="8" y="1008"/>
                </a:cubicBezTo>
                <a:cubicBezTo>
                  <a:pt x="13" y="1008"/>
                  <a:pt x="16" y="1012"/>
                  <a:pt x="16" y="1016"/>
                </a:cubicBezTo>
                <a:close/>
                <a:moveTo>
                  <a:pt x="16" y="1064"/>
                </a:moveTo>
                <a:lnTo>
                  <a:pt x="16" y="1080"/>
                </a:lnTo>
                <a:cubicBezTo>
                  <a:pt x="16" y="1085"/>
                  <a:pt x="13" y="1088"/>
                  <a:pt x="8" y="1088"/>
                </a:cubicBezTo>
                <a:cubicBezTo>
                  <a:pt x="4" y="1088"/>
                  <a:pt x="0" y="1085"/>
                  <a:pt x="0" y="1080"/>
                </a:cubicBezTo>
                <a:lnTo>
                  <a:pt x="0" y="1064"/>
                </a:lnTo>
                <a:cubicBezTo>
                  <a:pt x="0" y="1060"/>
                  <a:pt x="4" y="1056"/>
                  <a:pt x="8" y="1056"/>
                </a:cubicBezTo>
                <a:cubicBezTo>
                  <a:pt x="13" y="1056"/>
                  <a:pt x="16" y="1060"/>
                  <a:pt x="16" y="1064"/>
                </a:cubicBezTo>
                <a:close/>
                <a:moveTo>
                  <a:pt x="16" y="1112"/>
                </a:moveTo>
                <a:lnTo>
                  <a:pt x="16" y="1128"/>
                </a:lnTo>
                <a:cubicBezTo>
                  <a:pt x="16" y="1133"/>
                  <a:pt x="13" y="1136"/>
                  <a:pt x="8" y="1136"/>
                </a:cubicBezTo>
                <a:cubicBezTo>
                  <a:pt x="4" y="1136"/>
                  <a:pt x="0" y="1133"/>
                  <a:pt x="0" y="1128"/>
                </a:cubicBezTo>
                <a:lnTo>
                  <a:pt x="0" y="1112"/>
                </a:lnTo>
                <a:cubicBezTo>
                  <a:pt x="0" y="1108"/>
                  <a:pt x="4" y="1104"/>
                  <a:pt x="8" y="1104"/>
                </a:cubicBezTo>
                <a:cubicBezTo>
                  <a:pt x="13" y="1104"/>
                  <a:pt x="16" y="1108"/>
                  <a:pt x="16" y="1112"/>
                </a:cubicBezTo>
                <a:close/>
                <a:moveTo>
                  <a:pt x="16" y="1160"/>
                </a:moveTo>
                <a:lnTo>
                  <a:pt x="16" y="1176"/>
                </a:lnTo>
                <a:cubicBezTo>
                  <a:pt x="16" y="1181"/>
                  <a:pt x="13" y="1184"/>
                  <a:pt x="8" y="1184"/>
                </a:cubicBezTo>
                <a:cubicBezTo>
                  <a:pt x="4" y="1184"/>
                  <a:pt x="0" y="1181"/>
                  <a:pt x="0" y="1176"/>
                </a:cubicBezTo>
                <a:lnTo>
                  <a:pt x="0" y="1160"/>
                </a:lnTo>
                <a:cubicBezTo>
                  <a:pt x="0" y="1156"/>
                  <a:pt x="4" y="1152"/>
                  <a:pt x="8" y="1152"/>
                </a:cubicBezTo>
                <a:cubicBezTo>
                  <a:pt x="13" y="1152"/>
                  <a:pt x="16" y="1156"/>
                  <a:pt x="16" y="1160"/>
                </a:cubicBezTo>
                <a:close/>
                <a:moveTo>
                  <a:pt x="16" y="1208"/>
                </a:moveTo>
                <a:lnTo>
                  <a:pt x="16" y="1224"/>
                </a:lnTo>
                <a:cubicBezTo>
                  <a:pt x="16" y="1229"/>
                  <a:pt x="13" y="1232"/>
                  <a:pt x="8" y="1232"/>
                </a:cubicBezTo>
                <a:cubicBezTo>
                  <a:pt x="4" y="1232"/>
                  <a:pt x="0" y="1229"/>
                  <a:pt x="0" y="1224"/>
                </a:cubicBezTo>
                <a:lnTo>
                  <a:pt x="0" y="1208"/>
                </a:lnTo>
                <a:cubicBezTo>
                  <a:pt x="0" y="1204"/>
                  <a:pt x="4" y="1200"/>
                  <a:pt x="8" y="1200"/>
                </a:cubicBezTo>
                <a:cubicBezTo>
                  <a:pt x="13" y="1200"/>
                  <a:pt x="16" y="1204"/>
                  <a:pt x="16" y="1208"/>
                </a:cubicBezTo>
                <a:close/>
                <a:moveTo>
                  <a:pt x="16" y="1256"/>
                </a:moveTo>
                <a:lnTo>
                  <a:pt x="16" y="1272"/>
                </a:lnTo>
                <a:cubicBezTo>
                  <a:pt x="16" y="1277"/>
                  <a:pt x="13" y="1280"/>
                  <a:pt x="8" y="1280"/>
                </a:cubicBezTo>
                <a:cubicBezTo>
                  <a:pt x="4" y="1280"/>
                  <a:pt x="0" y="1277"/>
                  <a:pt x="0" y="1272"/>
                </a:cubicBezTo>
                <a:lnTo>
                  <a:pt x="0" y="1256"/>
                </a:lnTo>
                <a:cubicBezTo>
                  <a:pt x="0" y="1252"/>
                  <a:pt x="4" y="1248"/>
                  <a:pt x="8" y="1248"/>
                </a:cubicBezTo>
                <a:cubicBezTo>
                  <a:pt x="13" y="1248"/>
                  <a:pt x="16" y="1252"/>
                  <a:pt x="16" y="1256"/>
                </a:cubicBezTo>
                <a:close/>
                <a:moveTo>
                  <a:pt x="16" y="1304"/>
                </a:moveTo>
                <a:lnTo>
                  <a:pt x="16" y="1320"/>
                </a:lnTo>
                <a:cubicBezTo>
                  <a:pt x="16" y="1325"/>
                  <a:pt x="13" y="1328"/>
                  <a:pt x="8" y="1328"/>
                </a:cubicBezTo>
                <a:cubicBezTo>
                  <a:pt x="4" y="1328"/>
                  <a:pt x="0" y="1325"/>
                  <a:pt x="0" y="1320"/>
                </a:cubicBezTo>
                <a:lnTo>
                  <a:pt x="0" y="1304"/>
                </a:lnTo>
                <a:cubicBezTo>
                  <a:pt x="0" y="1300"/>
                  <a:pt x="4" y="1296"/>
                  <a:pt x="8" y="1296"/>
                </a:cubicBezTo>
                <a:cubicBezTo>
                  <a:pt x="13" y="1296"/>
                  <a:pt x="16" y="1300"/>
                  <a:pt x="16" y="1304"/>
                </a:cubicBezTo>
                <a:close/>
                <a:moveTo>
                  <a:pt x="16" y="1352"/>
                </a:moveTo>
                <a:lnTo>
                  <a:pt x="16" y="1368"/>
                </a:lnTo>
                <a:cubicBezTo>
                  <a:pt x="16" y="1373"/>
                  <a:pt x="13" y="1376"/>
                  <a:pt x="8" y="1376"/>
                </a:cubicBezTo>
                <a:cubicBezTo>
                  <a:pt x="4" y="1376"/>
                  <a:pt x="0" y="1373"/>
                  <a:pt x="0" y="1368"/>
                </a:cubicBezTo>
                <a:lnTo>
                  <a:pt x="0" y="1352"/>
                </a:lnTo>
                <a:cubicBezTo>
                  <a:pt x="0" y="1348"/>
                  <a:pt x="4" y="1344"/>
                  <a:pt x="8" y="1344"/>
                </a:cubicBezTo>
                <a:cubicBezTo>
                  <a:pt x="13" y="1344"/>
                  <a:pt x="16" y="1348"/>
                  <a:pt x="16" y="1352"/>
                </a:cubicBezTo>
                <a:close/>
                <a:moveTo>
                  <a:pt x="16" y="1400"/>
                </a:moveTo>
                <a:lnTo>
                  <a:pt x="16" y="1416"/>
                </a:lnTo>
                <a:cubicBezTo>
                  <a:pt x="16" y="1421"/>
                  <a:pt x="13" y="1424"/>
                  <a:pt x="8" y="1424"/>
                </a:cubicBezTo>
                <a:cubicBezTo>
                  <a:pt x="4" y="1424"/>
                  <a:pt x="0" y="1421"/>
                  <a:pt x="0" y="1416"/>
                </a:cubicBezTo>
                <a:lnTo>
                  <a:pt x="0" y="1400"/>
                </a:lnTo>
                <a:cubicBezTo>
                  <a:pt x="0" y="1396"/>
                  <a:pt x="4" y="1392"/>
                  <a:pt x="8" y="1392"/>
                </a:cubicBezTo>
                <a:cubicBezTo>
                  <a:pt x="13" y="1392"/>
                  <a:pt x="16" y="1396"/>
                  <a:pt x="16" y="1400"/>
                </a:cubicBezTo>
                <a:close/>
                <a:moveTo>
                  <a:pt x="16" y="1448"/>
                </a:moveTo>
                <a:lnTo>
                  <a:pt x="16" y="1464"/>
                </a:lnTo>
                <a:cubicBezTo>
                  <a:pt x="16" y="1469"/>
                  <a:pt x="13" y="1472"/>
                  <a:pt x="8" y="1472"/>
                </a:cubicBezTo>
                <a:cubicBezTo>
                  <a:pt x="4" y="1472"/>
                  <a:pt x="0" y="1469"/>
                  <a:pt x="0" y="1464"/>
                </a:cubicBezTo>
                <a:lnTo>
                  <a:pt x="0" y="1448"/>
                </a:lnTo>
                <a:cubicBezTo>
                  <a:pt x="0" y="1444"/>
                  <a:pt x="4" y="1440"/>
                  <a:pt x="8" y="1440"/>
                </a:cubicBezTo>
                <a:cubicBezTo>
                  <a:pt x="13" y="1440"/>
                  <a:pt x="16" y="1444"/>
                  <a:pt x="16" y="1448"/>
                </a:cubicBezTo>
                <a:close/>
                <a:moveTo>
                  <a:pt x="16" y="1496"/>
                </a:moveTo>
                <a:lnTo>
                  <a:pt x="16" y="1512"/>
                </a:lnTo>
                <a:cubicBezTo>
                  <a:pt x="16" y="1517"/>
                  <a:pt x="13" y="1520"/>
                  <a:pt x="8" y="1520"/>
                </a:cubicBezTo>
                <a:cubicBezTo>
                  <a:pt x="4" y="1520"/>
                  <a:pt x="0" y="1517"/>
                  <a:pt x="0" y="1512"/>
                </a:cubicBezTo>
                <a:lnTo>
                  <a:pt x="0" y="1496"/>
                </a:lnTo>
                <a:cubicBezTo>
                  <a:pt x="0" y="1492"/>
                  <a:pt x="4" y="1488"/>
                  <a:pt x="8" y="1488"/>
                </a:cubicBezTo>
                <a:cubicBezTo>
                  <a:pt x="13" y="1488"/>
                  <a:pt x="16" y="1492"/>
                  <a:pt x="16" y="1496"/>
                </a:cubicBezTo>
                <a:close/>
                <a:moveTo>
                  <a:pt x="16" y="1544"/>
                </a:moveTo>
                <a:lnTo>
                  <a:pt x="16" y="1560"/>
                </a:lnTo>
                <a:cubicBezTo>
                  <a:pt x="16" y="1565"/>
                  <a:pt x="13" y="1568"/>
                  <a:pt x="8" y="1568"/>
                </a:cubicBezTo>
                <a:cubicBezTo>
                  <a:pt x="4" y="1568"/>
                  <a:pt x="0" y="1565"/>
                  <a:pt x="0" y="1560"/>
                </a:cubicBezTo>
                <a:lnTo>
                  <a:pt x="0" y="1544"/>
                </a:lnTo>
                <a:cubicBezTo>
                  <a:pt x="0" y="1540"/>
                  <a:pt x="4" y="1536"/>
                  <a:pt x="8" y="1536"/>
                </a:cubicBezTo>
                <a:cubicBezTo>
                  <a:pt x="13" y="1536"/>
                  <a:pt x="16" y="1540"/>
                  <a:pt x="16" y="1544"/>
                </a:cubicBezTo>
                <a:close/>
                <a:moveTo>
                  <a:pt x="16" y="1592"/>
                </a:moveTo>
                <a:lnTo>
                  <a:pt x="16" y="1608"/>
                </a:lnTo>
                <a:cubicBezTo>
                  <a:pt x="16" y="1613"/>
                  <a:pt x="13" y="1616"/>
                  <a:pt x="8" y="1616"/>
                </a:cubicBezTo>
                <a:cubicBezTo>
                  <a:pt x="4" y="1616"/>
                  <a:pt x="0" y="1613"/>
                  <a:pt x="0" y="1608"/>
                </a:cubicBezTo>
                <a:lnTo>
                  <a:pt x="0" y="1592"/>
                </a:lnTo>
                <a:cubicBezTo>
                  <a:pt x="0" y="1588"/>
                  <a:pt x="4" y="1584"/>
                  <a:pt x="8" y="1584"/>
                </a:cubicBezTo>
                <a:cubicBezTo>
                  <a:pt x="13" y="1584"/>
                  <a:pt x="16" y="1588"/>
                  <a:pt x="16" y="1592"/>
                </a:cubicBezTo>
                <a:close/>
                <a:moveTo>
                  <a:pt x="16" y="1640"/>
                </a:moveTo>
                <a:lnTo>
                  <a:pt x="16" y="1656"/>
                </a:lnTo>
                <a:cubicBezTo>
                  <a:pt x="16" y="1661"/>
                  <a:pt x="13" y="1664"/>
                  <a:pt x="8" y="1664"/>
                </a:cubicBezTo>
                <a:cubicBezTo>
                  <a:pt x="4" y="1664"/>
                  <a:pt x="0" y="1661"/>
                  <a:pt x="0" y="1656"/>
                </a:cubicBezTo>
                <a:lnTo>
                  <a:pt x="0" y="1640"/>
                </a:lnTo>
                <a:cubicBezTo>
                  <a:pt x="0" y="1636"/>
                  <a:pt x="4" y="1632"/>
                  <a:pt x="8" y="1632"/>
                </a:cubicBezTo>
                <a:cubicBezTo>
                  <a:pt x="13" y="1632"/>
                  <a:pt x="16" y="1636"/>
                  <a:pt x="16" y="1640"/>
                </a:cubicBezTo>
                <a:close/>
                <a:moveTo>
                  <a:pt x="16" y="1688"/>
                </a:moveTo>
                <a:lnTo>
                  <a:pt x="16" y="1704"/>
                </a:lnTo>
                <a:cubicBezTo>
                  <a:pt x="16" y="1709"/>
                  <a:pt x="13" y="1712"/>
                  <a:pt x="8" y="1712"/>
                </a:cubicBezTo>
                <a:cubicBezTo>
                  <a:pt x="4" y="1712"/>
                  <a:pt x="0" y="1709"/>
                  <a:pt x="0" y="1704"/>
                </a:cubicBezTo>
                <a:lnTo>
                  <a:pt x="0" y="1688"/>
                </a:lnTo>
                <a:cubicBezTo>
                  <a:pt x="0" y="1684"/>
                  <a:pt x="4" y="1680"/>
                  <a:pt x="8" y="1680"/>
                </a:cubicBezTo>
                <a:cubicBezTo>
                  <a:pt x="13" y="1680"/>
                  <a:pt x="16" y="1684"/>
                  <a:pt x="16" y="1688"/>
                </a:cubicBezTo>
                <a:close/>
                <a:moveTo>
                  <a:pt x="16" y="1736"/>
                </a:moveTo>
                <a:lnTo>
                  <a:pt x="16" y="1752"/>
                </a:lnTo>
                <a:cubicBezTo>
                  <a:pt x="16" y="1757"/>
                  <a:pt x="13" y="1760"/>
                  <a:pt x="8" y="1760"/>
                </a:cubicBezTo>
                <a:cubicBezTo>
                  <a:pt x="4" y="1760"/>
                  <a:pt x="0" y="1757"/>
                  <a:pt x="0" y="1752"/>
                </a:cubicBezTo>
                <a:lnTo>
                  <a:pt x="0" y="1736"/>
                </a:lnTo>
                <a:cubicBezTo>
                  <a:pt x="0" y="1732"/>
                  <a:pt x="4" y="1728"/>
                  <a:pt x="8" y="1728"/>
                </a:cubicBezTo>
                <a:cubicBezTo>
                  <a:pt x="13" y="1728"/>
                  <a:pt x="16" y="1732"/>
                  <a:pt x="16" y="1736"/>
                </a:cubicBezTo>
                <a:close/>
                <a:moveTo>
                  <a:pt x="16" y="1784"/>
                </a:moveTo>
                <a:lnTo>
                  <a:pt x="16" y="1800"/>
                </a:lnTo>
                <a:cubicBezTo>
                  <a:pt x="16" y="1805"/>
                  <a:pt x="13" y="1808"/>
                  <a:pt x="8" y="1808"/>
                </a:cubicBezTo>
                <a:cubicBezTo>
                  <a:pt x="4" y="1808"/>
                  <a:pt x="0" y="1805"/>
                  <a:pt x="0" y="1800"/>
                </a:cubicBezTo>
                <a:lnTo>
                  <a:pt x="0" y="1784"/>
                </a:lnTo>
                <a:cubicBezTo>
                  <a:pt x="0" y="1780"/>
                  <a:pt x="4" y="1776"/>
                  <a:pt x="8" y="1776"/>
                </a:cubicBezTo>
                <a:cubicBezTo>
                  <a:pt x="13" y="1776"/>
                  <a:pt x="16" y="1780"/>
                  <a:pt x="16" y="1784"/>
                </a:cubicBezTo>
                <a:close/>
                <a:moveTo>
                  <a:pt x="16" y="1832"/>
                </a:moveTo>
                <a:lnTo>
                  <a:pt x="16" y="1848"/>
                </a:lnTo>
                <a:cubicBezTo>
                  <a:pt x="16" y="1853"/>
                  <a:pt x="13" y="1856"/>
                  <a:pt x="8" y="1856"/>
                </a:cubicBezTo>
                <a:cubicBezTo>
                  <a:pt x="4" y="1856"/>
                  <a:pt x="0" y="1853"/>
                  <a:pt x="0" y="1848"/>
                </a:cubicBezTo>
                <a:lnTo>
                  <a:pt x="0" y="1832"/>
                </a:lnTo>
                <a:cubicBezTo>
                  <a:pt x="0" y="1828"/>
                  <a:pt x="4" y="1824"/>
                  <a:pt x="8" y="1824"/>
                </a:cubicBezTo>
                <a:cubicBezTo>
                  <a:pt x="13" y="1824"/>
                  <a:pt x="16" y="1828"/>
                  <a:pt x="16" y="1832"/>
                </a:cubicBezTo>
                <a:close/>
                <a:moveTo>
                  <a:pt x="16" y="1880"/>
                </a:moveTo>
                <a:lnTo>
                  <a:pt x="16" y="1896"/>
                </a:lnTo>
                <a:cubicBezTo>
                  <a:pt x="16" y="1901"/>
                  <a:pt x="13" y="1904"/>
                  <a:pt x="8" y="1904"/>
                </a:cubicBezTo>
                <a:cubicBezTo>
                  <a:pt x="4" y="1904"/>
                  <a:pt x="0" y="1901"/>
                  <a:pt x="0" y="1896"/>
                </a:cubicBezTo>
                <a:lnTo>
                  <a:pt x="0" y="1880"/>
                </a:lnTo>
                <a:cubicBezTo>
                  <a:pt x="0" y="1876"/>
                  <a:pt x="4" y="1872"/>
                  <a:pt x="8" y="1872"/>
                </a:cubicBezTo>
                <a:cubicBezTo>
                  <a:pt x="13" y="1872"/>
                  <a:pt x="16" y="1876"/>
                  <a:pt x="16" y="1880"/>
                </a:cubicBezTo>
                <a:close/>
                <a:moveTo>
                  <a:pt x="16" y="1928"/>
                </a:moveTo>
                <a:lnTo>
                  <a:pt x="16" y="1944"/>
                </a:lnTo>
                <a:cubicBezTo>
                  <a:pt x="16" y="1949"/>
                  <a:pt x="13" y="1952"/>
                  <a:pt x="8" y="1952"/>
                </a:cubicBezTo>
                <a:cubicBezTo>
                  <a:pt x="4" y="1952"/>
                  <a:pt x="0" y="1949"/>
                  <a:pt x="0" y="1944"/>
                </a:cubicBezTo>
                <a:lnTo>
                  <a:pt x="0" y="1928"/>
                </a:lnTo>
                <a:cubicBezTo>
                  <a:pt x="0" y="1924"/>
                  <a:pt x="4" y="1920"/>
                  <a:pt x="8" y="1920"/>
                </a:cubicBezTo>
                <a:cubicBezTo>
                  <a:pt x="13" y="1920"/>
                  <a:pt x="16" y="1924"/>
                  <a:pt x="16" y="1928"/>
                </a:cubicBezTo>
                <a:close/>
                <a:moveTo>
                  <a:pt x="16" y="1976"/>
                </a:moveTo>
                <a:lnTo>
                  <a:pt x="16" y="1992"/>
                </a:lnTo>
                <a:cubicBezTo>
                  <a:pt x="16" y="1997"/>
                  <a:pt x="13" y="2000"/>
                  <a:pt x="8" y="2000"/>
                </a:cubicBezTo>
                <a:cubicBezTo>
                  <a:pt x="4" y="2000"/>
                  <a:pt x="0" y="1997"/>
                  <a:pt x="0" y="1992"/>
                </a:cubicBezTo>
                <a:lnTo>
                  <a:pt x="0" y="1976"/>
                </a:lnTo>
                <a:cubicBezTo>
                  <a:pt x="0" y="1972"/>
                  <a:pt x="4" y="1968"/>
                  <a:pt x="8" y="1968"/>
                </a:cubicBezTo>
                <a:cubicBezTo>
                  <a:pt x="13" y="1968"/>
                  <a:pt x="16" y="1972"/>
                  <a:pt x="16" y="1976"/>
                </a:cubicBezTo>
                <a:close/>
                <a:moveTo>
                  <a:pt x="16" y="2024"/>
                </a:moveTo>
                <a:lnTo>
                  <a:pt x="16" y="2040"/>
                </a:lnTo>
                <a:cubicBezTo>
                  <a:pt x="16" y="2045"/>
                  <a:pt x="13" y="2048"/>
                  <a:pt x="8" y="2048"/>
                </a:cubicBezTo>
                <a:cubicBezTo>
                  <a:pt x="4" y="2048"/>
                  <a:pt x="0" y="2045"/>
                  <a:pt x="0" y="2040"/>
                </a:cubicBezTo>
                <a:lnTo>
                  <a:pt x="0" y="2024"/>
                </a:lnTo>
                <a:cubicBezTo>
                  <a:pt x="0" y="2020"/>
                  <a:pt x="4" y="2016"/>
                  <a:pt x="8" y="2016"/>
                </a:cubicBezTo>
                <a:cubicBezTo>
                  <a:pt x="13" y="2016"/>
                  <a:pt x="16" y="2020"/>
                  <a:pt x="16" y="2024"/>
                </a:cubicBezTo>
                <a:close/>
                <a:moveTo>
                  <a:pt x="16" y="2072"/>
                </a:moveTo>
                <a:lnTo>
                  <a:pt x="16" y="2088"/>
                </a:lnTo>
                <a:cubicBezTo>
                  <a:pt x="16" y="2093"/>
                  <a:pt x="13" y="2096"/>
                  <a:pt x="8" y="2096"/>
                </a:cubicBezTo>
                <a:cubicBezTo>
                  <a:pt x="4" y="2096"/>
                  <a:pt x="0" y="2093"/>
                  <a:pt x="0" y="2088"/>
                </a:cubicBezTo>
                <a:lnTo>
                  <a:pt x="0" y="2072"/>
                </a:lnTo>
                <a:cubicBezTo>
                  <a:pt x="0" y="2068"/>
                  <a:pt x="4" y="2064"/>
                  <a:pt x="8" y="2064"/>
                </a:cubicBezTo>
                <a:cubicBezTo>
                  <a:pt x="13" y="2064"/>
                  <a:pt x="16" y="2068"/>
                  <a:pt x="16" y="2072"/>
                </a:cubicBezTo>
                <a:close/>
                <a:moveTo>
                  <a:pt x="16" y="2120"/>
                </a:moveTo>
                <a:lnTo>
                  <a:pt x="16" y="2136"/>
                </a:lnTo>
                <a:cubicBezTo>
                  <a:pt x="16" y="2141"/>
                  <a:pt x="13" y="2144"/>
                  <a:pt x="8" y="2144"/>
                </a:cubicBezTo>
                <a:cubicBezTo>
                  <a:pt x="4" y="2144"/>
                  <a:pt x="0" y="2141"/>
                  <a:pt x="0" y="2136"/>
                </a:cubicBezTo>
                <a:lnTo>
                  <a:pt x="0" y="2120"/>
                </a:lnTo>
                <a:cubicBezTo>
                  <a:pt x="0" y="2116"/>
                  <a:pt x="4" y="2112"/>
                  <a:pt x="8" y="2112"/>
                </a:cubicBezTo>
                <a:cubicBezTo>
                  <a:pt x="13" y="2112"/>
                  <a:pt x="16" y="2116"/>
                  <a:pt x="16" y="2120"/>
                </a:cubicBezTo>
                <a:close/>
                <a:moveTo>
                  <a:pt x="16" y="2168"/>
                </a:moveTo>
                <a:lnTo>
                  <a:pt x="16" y="2184"/>
                </a:lnTo>
                <a:cubicBezTo>
                  <a:pt x="16" y="2189"/>
                  <a:pt x="13" y="2192"/>
                  <a:pt x="8" y="2192"/>
                </a:cubicBezTo>
                <a:cubicBezTo>
                  <a:pt x="4" y="2192"/>
                  <a:pt x="0" y="2189"/>
                  <a:pt x="0" y="2184"/>
                </a:cubicBezTo>
                <a:lnTo>
                  <a:pt x="0" y="2168"/>
                </a:lnTo>
                <a:cubicBezTo>
                  <a:pt x="0" y="2164"/>
                  <a:pt x="4" y="2160"/>
                  <a:pt x="8" y="2160"/>
                </a:cubicBezTo>
                <a:cubicBezTo>
                  <a:pt x="13" y="2160"/>
                  <a:pt x="16" y="2164"/>
                  <a:pt x="16" y="2168"/>
                </a:cubicBezTo>
                <a:close/>
                <a:moveTo>
                  <a:pt x="16" y="2216"/>
                </a:moveTo>
                <a:lnTo>
                  <a:pt x="16" y="2223"/>
                </a:lnTo>
                <a:cubicBezTo>
                  <a:pt x="16" y="2227"/>
                  <a:pt x="13" y="2231"/>
                  <a:pt x="8" y="2231"/>
                </a:cubicBezTo>
                <a:cubicBezTo>
                  <a:pt x="4" y="2231"/>
                  <a:pt x="0" y="2227"/>
                  <a:pt x="0" y="2223"/>
                </a:cubicBezTo>
                <a:lnTo>
                  <a:pt x="0" y="2216"/>
                </a:lnTo>
                <a:cubicBezTo>
                  <a:pt x="0" y="2212"/>
                  <a:pt x="4" y="2208"/>
                  <a:pt x="8" y="2208"/>
                </a:cubicBezTo>
                <a:cubicBezTo>
                  <a:pt x="13" y="2208"/>
                  <a:pt x="16" y="2212"/>
                  <a:pt x="16" y="2216"/>
                </a:cubicBezTo>
                <a:close/>
              </a:path>
            </a:pathLst>
          </a:custGeom>
          <a:solidFill>
            <a:srgbClr val="7F7F7F"/>
          </a:solidFill>
          <a:ln w="1588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2EB81C4-FC16-4400-B9B1-1E013ADA3F10}"/>
              </a:ext>
            </a:extLst>
          </p:cNvPr>
          <p:cNvSpPr>
            <a:spLocks noEditPoints="1"/>
          </p:cNvSpPr>
          <p:nvPr/>
        </p:nvSpPr>
        <p:spPr bwMode="auto">
          <a:xfrm>
            <a:off x="1725613" y="2112963"/>
            <a:ext cx="15875" cy="3241675"/>
          </a:xfrm>
          <a:custGeom>
            <a:avLst/>
            <a:gdLst>
              <a:gd name="T0" fmla="*/ 16 w 16"/>
              <a:gd name="T1" fmla="*/ 56 h 3296"/>
              <a:gd name="T2" fmla="*/ 16 w 16"/>
              <a:gd name="T3" fmla="*/ 120 h 3296"/>
              <a:gd name="T4" fmla="*/ 8 w 16"/>
              <a:gd name="T5" fmla="*/ 176 h 3296"/>
              <a:gd name="T6" fmla="*/ 0 w 16"/>
              <a:gd name="T7" fmla="*/ 216 h 3296"/>
              <a:gd name="T8" fmla="*/ 0 w 16"/>
              <a:gd name="T9" fmla="*/ 248 h 3296"/>
              <a:gd name="T10" fmla="*/ 8 w 16"/>
              <a:gd name="T11" fmla="*/ 288 h 3296"/>
              <a:gd name="T12" fmla="*/ 16 w 16"/>
              <a:gd name="T13" fmla="*/ 344 h 3296"/>
              <a:gd name="T14" fmla="*/ 16 w 16"/>
              <a:gd name="T15" fmla="*/ 440 h 3296"/>
              <a:gd name="T16" fmla="*/ 16 w 16"/>
              <a:gd name="T17" fmla="*/ 504 h 3296"/>
              <a:gd name="T18" fmla="*/ 8 w 16"/>
              <a:gd name="T19" fmla="*/ 560 h 3296"/>
              <a:gd name="T20" fmla="*/ 0 w 16"/>
              <a:gd name="T21" fmla="*/ 600 h 3296"/>
              <a:gd name="T22" fmla="*/ 0 w 16"/>
              <a:gd name="T23" fmla="*/ 632 h 3296"/>
              <a:gd name="T24" fmla="*/ 8 w 16"/>
              <a:gd name="T25" fmla="*/ 672 h 3296"/>
              <a:gd name="T26" fmla="*/ 16 w 16"/>
              <a:gd name="T27" fmla="*/ 728 h 3296"/>
              <a:gd name="T28" fmla="*/ 16 w 16"/>
              <a:gd name="T29" fmla="*/ 824 h 3296"/>
              <a:gd name="T30" fmla="*/ 16 w 16"/>
              <a:gd name="T31" fmla="*/ 888 h 3296"/>
              <a:gd name="T32" fmla="*/ 8 w 16"/>
              <a:gd name="T33" fmla="*/ 944 h 3296"/>
              <a:gd name="T34" fmla="*/ 0 w 16"/>
              <a:gd name="T35" fmla="*/ 984 h 3296"/>
              <a:gd name="T36" fmla="*/ 0 w 16"/>
              <a:gd name="T37" fmla="*/ 1016 h 3296"/>
              <a:gd name="T38" fmla="*/ 8 w 16"/>
              <a:gd name="T39" fmla="*/ 1056 h 3296"/>
              <a:gd name="T40" fmla="*/ 16 w 16"/>
              <a:gd name="T41" fmla="*/ 1112 h 3296"/>
              <a:gd name="T42" fmla="*/ 16 w 16"/>
              <a:gd name="T43" fmla="*/ 1208 h 3296"/>
              <a:gd name="T44" fmla="*/ 16 w 16"/>
              <a:gd name="T45" fmla="*/ 1272 h 3296"/>
              <a:gd name="T46" fmla="*/ 8 w 16"/>
              <a:gd name="T47" fmla="*/ 1328 h 3296"/>
              <a:gd name="T48" fmla="*/ 0 w 16"/>
              <a:gd name="T49" fmla="*/ 1368 h 3296"/>
              <a:gd name="T50" fmla="*/ 0 w 16"/>
              <a:gd name="T51" fmla="*/ 1400 h 3296"/>
              <a:gd name="T52" fmla="*/ 8 w 16"/>
              <a:gd name="T53" fmla="*/ 1440 h 3296"/>
              <a:gd name="T54" fmla="*/ 16 w 16"/>
              <a:gd name="T55" fmla="*/ 1496 h 3296"/>
              <a:gd name="T56" fmla="*/ 16 w 16"/>
              <a:gd name="T57" fmla="*/ 1592 h 3296"/>
              <a:gd name="T58" fmla="*/ 16 w 16"/>
              <a:gd name="T59" fmla="*/ 1656 h 3296"/>
              <a:gd name="T60" fmla="*/ 8 w 16"/>
              <a:gd name="T61" fmla="*/ 1712 h 3296"/>
              <a:gd name="T62" fmla="*/ 0 w 16"/>
              <a:gd name="T63" fmla="*/ 1752 h 3296"/>
              <a:gd name="T64" fmla="*/ 0 w 16"/>
              <a:gd name="T65" fmla="*/ 1784 h 3296"/>
              <a:gd name="T66" fmla="*/ 8 w 16"/>
              <a:gd name="T67" fmla="*/ 1824 h 3296"/>
              <a:gd name="T68" fmla="*/ 16 w 16"/>
              <a:gd name="T69" fmla="*/ 1880 h 3296"/>
              <a:gd name="T70" fmla="*/ 16 w 16"/>
              <a:gd name="T71" fmla="*/ 1976 h 3296"/>
              <a:gd name="T72" fmla="*/ 16 w 16"/>
              <a:gd name="T73" fmla="*/ 2040 h 3296"/>
              <a:gd name="T74" fmla="*/ 8 w 16"/>
              <a:gd name="T75" fmla="*/ 2096 h 3296"/>
              <a:gd name="T76" fmla="*/ 0 w 16"/>
              <a:gd name="T77" fmla="*/ 2136 h 3296"/>
              <a:gd name="T78" fmla="*/ 0 w 16"/>
              <a:gd name="T79" fmla="*/ 2168 h 3296"/>
              <a:gd name="T80" fmla="*/ 8 w 16"/>
              <a:gd name="T81" fmla="*/ 2208 h 3296"/>
              <a:gd name="T82" fmla="*/ 16 w 16"/>
              <a:gd name="T83" fmla="*/ 2264 h 3296"/>
              <a:gd name="T84" fmla="*/ 16 w 16"/>
              <a:gd name="T85" fmla="*/ 2360 h 3296"/>
              <a:gd name="T86" fmla="*/ 16 w 16"/>
              <a:gd name="T87" fmla="*/ 2424 h 3296"/>
              <a:gd name="T88" fmla="*/ 8 w 16"/>
              <a:gd name="T89" fmla="*/ 2480 h 3296"/>
              <a:gd name="T90" fmla="*/ 0 w 16"/>
              <a:gd name="T91" fmla="*/ 2520 h 3296"/>
              <a:gd name="T92" fmla="*/ 0 w 16"/>
              <a:gd name="T93" fmla="*/ 2552 h 3296"/>
              <a:gd name="T94" fmla="*/ 8 w 16"/>
              <a:gd name="T95" fmla="*/ 2592 h 3296"/>
              <a:gd name="T96" fmla="*/ 16 w 16"/>
              <a:gd name="T97" fmla="*/ 2648 h 3296"/>
              <a:gd name="T98" fmla="*/ 16 w 16"/>
              <a:gd name="T99" fmla="*/ 2744 h 3296"/>
              <a:gd name="T100" fmla="*/ 16 w 16"/>
              <a:gd name="T101" fmla="*/ 2808 h 3296"/>
              <a:gd name="T102" fmla="*/ 8 w 16"/>
              <a:gd name="T103" fmla="*/ 2864 h 3296"/>
              <a:gd name="T104" fmla="*/ 0 w 16"/>
              <a:gd name="T105" fmla="*/ 2904 h 3296"/>
              <a:gd name="T106" fmla="*/ 0 w 16"/>
              <a:gd name="T107" fmla="*/ 2936 h 3296"/>
              <a:gd name="T108" fmla="*/ 8 w 16"/>
              <a:gd name="T109" fmla="*/ 2976 h 3296"/>
              <a:gd name="T110" fmla="*/ 16 w 16"/>
              <a:gd name="T111" fmla="*/ 3032 h 3296"/>
              <a:gd name="T112" fmla="*/ 16 w 16"/>
              <a:gd name="T113" fmla="*/ 3128 h 3296"/>
              <a:gd name="T114" fmla="*/ 16 w 16"/>
              <a:gd name="T115" fmla="*/ 3192 h 3296"/>
              <a:gd name="T116" fmla="*/ 8 w 16"/>
              <a:gd name="T117" fmla="*/ 3248 h 3296"/>
              <a:gd name="T118" fmla="*/ 0 w 16"/>
              <a:gd name="T119" fmla="*/ 3288 h 3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" h="3296">
                <a:moveTo>
                  <a:pt x="16" y="8"/>
                </a:moveTo>
                <a:lnTo>
                  <a:pt x="16" y="24"/>
                </a:lnTo>
                <a:cubicBezTo>
                  <a:pt x="16" y="29"/>
                  <a:pt x="13" y="32"/>
                  <a:pt x="8" y="32"/>
                </a:cubicBezTo>
                <a:cubicBezTo>
                  <a:pt x="4" y="32"/>
                  <a:pt x="0" y="29"/>
                  <a:pt x="0" y="24"/>
                </a:cubicBez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lose/>
                <a:moveTo>
                  <a:pt x="16" y="56"/>
                </a:moveTo>
                <a:lnTo>
                  <a:pt x="16" y="72"/>
                </a:lnTo>
                <a:cubicBezTo>
                  <a:pt x="16" y="77"/>
                  <a:pt x="13" y="80"/>
                  <a:pt x="8" y="80"/>
                </a:cubicBezTo>
                <a:cubicBezTo>
                  <a:pt x="4" y="80"/>
                  <a:pt x="0" y="77"/>
                  <a:pt x="0" y="72"/>
                </a:cubicBezTo>
                <a:lnTo>
                  <a:pt x="0" y="56"/>
                </a:lnTo>
                <a:cubicBezTo>
                  <a:pt x="0" y="52"/>
                  <a:pt x="4" y="48"/>
                  <a:pt x="8" y="48"/>
                </a:cubicBezTo>
                <a:cubicBezTo>
                  <a:pt x="13" y="48"/>
                  <a:pt x="16" y="52"/>
                  <a:pt x="16" y="56"/>
                </a:cubicBezTo>
                <a:close/>
                <a:moveTo>
                  <a:pt x="16" y="104"/>
                </a:moveTo>
                <a:lnTo>
                  <a:pt x="16" y="120"/>
                </a:lnTo>
                <a:cubicBezTo>
                  <a:pt x="16" y="125"/>
                  <a:pt x="13" y="128"/>
                  <a:pt x="8" y="128"/>
                </a:cubicBezTo>
                <a:cubicBezTo>
                  <a:pt x="4" y="128"/>
                  <a:pt x="0" y="125"/>
                  <a:pt x="0" y="120"/>
                </a:cubicBezTo>
                <a:lnTo>
                  <a:pt x="0" y="104"/>
                </a:lnTo>
                <a:cubicBezTo>
                  <a:pt x="0" y="100"/>
                  <a:pt x="4" y="96"/>
                  <a:pt x="8" y="96"/>
                </a:cubicBezTo>
                <a:cubicBezTo>
                  <a:pt x="13" y="96"/>
                  <a:pt x="16" y="100"/>
                  <a:pt x="16" y="104"/>
                </a:cubicBezTo>
                <a:close/>
                <a:moveTo>
                  <a:pt x="16" y="152"/>
                </a:moveTo>
                <a:lnTo>
                  <a:pt x="16" y="168"/>
                </a:lnTo>
                <a:cubicBezTo>
                  <a:pt x="16" y="173"/>
                  <a:pt x="13" y="176"/>
                  <a:pt x="8" y="176"/>
                </a:cubicBezTo>
                <a:cubicBezTo>
                  <a:pt x="4" y="176"/>
                  <a:pt x="0" y="173"/>
                  <a:pt x="0" y="168"/>
                </a:cubicBezTo>
                <a:lnTo>
                  <a:pt x="0" y="152"/>
                </a:lnTo>
                <a:cubicBezTo>
                  <a:pt x="0" y="148"/>
                  <a:pt x="4" y="144"/>
                  <a:pt x="8" y="144"/>
                </a:cubicBezTo>
                <a:cubicBezTo>
                  <a:pt x="13" y="144"/>
                  <a:pt x="16" y="148"/>
                  <a:pt x="16" y="152"/>
                </a:cubicBezTo>
                <a:close/>
                <a:moveTo>
                  <a:pt x="16" y="200"/>
                </a:moveTo>
                <a:lnTo>
                  <a:pt x="16" y="216"/>
                </a:lnTo>
                <a:cubicBezTo>
                  <a:pt x="16" y="221"/>
                  <a:pt x="13" y="224"/>
                  <a:pt x="8" y="224"/>
                </a:cubicBezTo>
                <a:cubicBezTo>
                  <a:pt x="4" y="224"/>
                  <a:pt x="0" y="221"/>
                  <a:pt x="0" y="216"/>
                </a:cubicBezTo>
                <a:lnTo>
                  <a:pt x="0" y="200"/>
                </a:lnTo>
                <a:cubicBezTo>
                  <a:pt x="0" y="196"/>
                  <a:pt x="4" y="192"/>
                  <a:pt x="8" y="192"/>
                </a:cubicBezTo>
                <a:cubicBezTo>
                  <a:pt x="13" y="192"/>
                  <a:pt x="16" y="196"/>
                  <a:pt x="16" y="200"/>
                </a:cubicBezTo>
                <a:close/>
                <a:moveTo>
                  <a:pt x="16" y="248"/>
                </a:moveTo>
                <a:lnTo>
                  <a:pt x="16" y="264"/>
                </a:lnTo>
                <a:cubicBezTo>
                  <a:pt x="16" y="269"/>
                  <a:pt x="13" y="272"/>
                  <a:pt x="8" y="272"/>
                </a:cubicBezTo>
                <a:cubicBezTo>
                  <a:pt x="4" y="272"/>
                  <a:pt x="0" y="269"/>
                  <a:pt x="0" y="264"/>
                </a:cubicBezTo>
                <a:lnTo>
                  <a:pt x="0" y="248"/>
                </a:lnTo>
                <a:cubicBezTo>
                  <a:pt x="0" y="244"/>
                  <a:pt x="4" y="240"/>
                  <a:pt x="8" y="240"/>
                </a:cubicBezTo>
                <a:cubicBezTo>
                  <a:pt x="13" y="240"/>
                  <a:pt x="16" y="244"/>
                  <a:pt x="16" y="248"/>
                </a:cubicBezTo>
                <a:close/>
                <a:moveTo>
                  <a:pt x="16" y="296"/>
                </a:moveTo>
                <a:lnTo>
                  <a:pt x="16" y="312"/>
                </a:lnTo>
                <a:cubicBezTo>
                  <a:pt x="16" y="317"/>
                  <a:pt x="13" y="320"/>
                  <a:pt x="8" y="320"/>
                </a:cubicBezTo>
                <a:cubicBezTo>
                  <a:pt x="4" y="320"/>
                  <a:pt x="0" y="317"/>
                  <a:pt x="0" y="312"/>
                </a:cubicBezTo>
                <a:lnTo>
                  <a:pt x="0" y="296"/>
                </a:lnTo>
                <a:cubicBezTo>
                  <a:pt x="0" y="292"/>
                  <a:pt x="4" y="288"/>
                  <a:pt x="8" y="288"/>
                </a:cubicBezTo>
                <a:cubicBezTo>
                  <a:pt x="13" y="288"/>
                  <a:pt x="16" y="292"/>
                  <a:pt x="16" y="296"/>
                </a:cubicBezTo>
                <a:close/>
                <a:moveTo>
                  <a:pt x="16" y="344"/>
                </a:moveTo>
                <a:lnTo>
                  <a:pt x="16" y="360"/>
                </a:lnTo>
                <a:cubicBezTo>
                  <a:pt x="16" y="365"/>
                  <a:pt x="13" y="368"/>
                  <a:pt x="8" y="368"/>
                </a:cubicBezTo>
                <a:cubicBezTo>
                  <a:pt x="4" y="368"/>
                  <a:pt x="0" y="365"/>
                  <a:pt x="0" y="360"/>
                </a:cubicBezTo>
                <a:lnTo>
                  <a:pt x="0" y="344"/>
                </a:lnTo>
                <a:cubicBezTo>
                  <a:pt x="0" y="340"/>
                  <a:pt x="4" y="336"/>
                  <a:pt x="8" y="336"/>
                </a:cubicBezTo>
                <a:cubicBezTo>
                  <a:pt x="13" y="336"/>
                  <a:pt x="16" y="340"/>
                  <a:pt x="16" y="344"/>
                </a:cubicBezTo>
                <a:close/>
                <a:moveTo>
                  <a:pt x="16" y="392"/>
                </a:moveTo>
                <a:lnTo>
                  <a:pt x="16" y="408"/>
                </a:lnTo>
                <a:cubicBezTo>
                  <a:pt x="16" y="413"/>
                  <a:pt x="13" y="416"/>
                  <a:pt x="8" y="416"/>
                </a:cubicBezTo>
                <a:cubicBezTo>
                  <a:pt x="4" y="416"/>
                  <a:pt x="0" y="413"/>
                  <a:pt x="0" y="408"/>
                </a:cubicBezTo>
                <a:lnTo>
                  <a:pt x="0" y="392"/>
                </a:lnTo>
                <a:cubicBezTo>
                  <a:pt x="0" y="388"/>
                  <a:pt x="4" y="384"/>
                  <a:pt x="8" y="384"/>
                </a:cubicBezTo>
                <a:cubicBezTo>
                  <a:pt x="13" y="384"/>
                  <a:pt x="16" y="388"/>
                  <a:pt x="16" y="392"/>
                </a:cubicBezTo>
                <a:close/>
                <a:moveTo>
                  <a:pt x="16" y="440"/>
                </a:moveTo>
                <a:lnTo>
                  <a:pt x="16" y="456"/>
                </a:lnTo>
                <a:cubicBezTo>
                  <a:pt x="16" y="461"/>
                  <a:pt x="13" y="464"/>
                  <a:pt x="8" y="464"/>
                </a:cubicBezTo>
                <a:cubicBezTo>
                  <a:pt x="4" y="464"/>
                  <a:pt x="0" y="461"/>
                  <a:pt x="0" y="456"/>
                </a:cubicBezTo>
                <a:lnTo>
                  <a:pt x="0" y="440"/>
                </a:lnTo>
                <a:cubicBezTo>
                  <a:pt x="0" y="436"/>
                  <a:pt x="4" y="432"/>
                  <a:pt x="8" y="432"/>
                </a:cubicBezTo>
                <a:cubicBezTo>
                  <a:pt x="13" y="432"/>
                  <a:pt x="16" y="436"/>
                  <a:pt x="16" y="440"/>
                </a:cubicBezTo>
                <a:close/>
                <a:moveTo>
                  <a:pt x="16" y="488"/>
                </a:moveTo>
                <a:lnTo>
                  <a:pt x="16" y="504"/>
                </a:lnTo>
                <a:cubicBezTo>
                  <a:pt x="16" y="509"/>
                  <a:pt x="13" y="512"/>
                  <a:pt x="8" y="512"/>
                </a:cubicBezTo>
                <a:cubicBezTo>
                  <a:pt x="4" y="512"/>
                  <a:pt x="0" y="509"/>
                  <a:pt x="0" y="504"/>
                </a:cubicBezTo>
                <a:lnTo>
                  <a:pt x="0" y="488"/>
                </a:lnTo>
                <a:cubicBezTo>
                  <a:pt x="0" y="484"/>
                  <a:pt x="4" y="480"/>
                  <a:pt x="8" y="480"/>
                </a:cubicBezTo>
                <a:cubicBezTo>
                  <a:pt x="13" y="480"/>
                  <a:pt x="16" y="484"/>
                  <a:pt x="16" y="488"/>
                </a:cubicBezTo>
                <a:close/>
                <a:moveTo>
                  <a:pt x="16" y="536"/>
                </a:moveTo>
                <a:lnTo>
                  <a:pt x="16" y="552"/>
                </a:lnTo>
                <a:cubicBezTo>
                  <a:pt x="16" y="557"/>
                  <a:pt x="13" y="560"/>
                  <a:pt x="8" y="560"/>
                </a:cubicBezTo>
                <a:cubicBezTo>
                  <a:pt x="4" y="560"/>
                  <a:pt x="0" y="557"/>
                  <a:pt x="0" y="552"/>
                </a:cubicBezTo>
                <a:lnTo>
                  <a:pt x="0" y="536"/>
                </a:lnTo>
                <a:cubicBezTo>
                  <a:pt x="0" y="532"/>
                  <a:pt x="4" y="528"/>
                  <a:pt x="8" y="528"/>
                </a:cubicBezTo>
                <a:cubicBezTo>
                  <a:pt x="13" y="528"/>
                  <a:pt x="16" y="532"/>
                  <a:pt x="16" y="536"/>
                </a:cubicBezTo>
                <a:close/>
                <a:moveTo>
                  <a:pt x="16" y="584"/>
                </a:moveTo>
                <a:lnTo>
                  <a:pt x="16" y="600"/>
                </a:lnTo>
                <a:cubicBezTo>
                  <a:pt x="16" y="605"/>
                  <a:pt x="13" y="608"/>
                  <a:pt x="8" y="608"/>
                </a:cubicBezTo>
                <a:cubicBezTo>
                  <a:pt x="4" y="608"/>
                  <a:pt x="0" y="605"/>
                  <a:pt x="0" y="600"/>
                </a:cubicBezTo>
                <a:lnTo>
                  <a:pt x="0" y="584"/>
                </a:lnTo>
                <a:cubicBezTo>
                  <a:pt x="0" y="580"/>
                  <a:pt x="4" y="576"/>
                  <a:pt x="8" y="576"/>
                </a:cubicBezTo>
                <a:cubicBezTo>
                  <a:pt x="13" y="576"/>
                  <a:pt x="16" y="580"/>
                  <a:pt x="16" y="584"/>
                </a:cubicBezTo>
                <a:close/>
                <a:moveTo>
                  <a:pt x="16" y="632"/>
                </a:moveTo>
                <a:lnTo>
                  <a:pt x="16" y="648"/>
                </a:lnTo>
                <a:cubicBezTo>
                  <a:pt x="16" y="653"/>
                  <a:pt x="13" y="656"/>
                  <a:pt x="8" y="656"/>
                </a:cubicBezTo>
                <a:cubicBezTo>
                  <a:pt x="4" y="656"/>
                  <a:pt x="0" y="653"/>
                  <a:pt x="0" y="648"/>
                </a:cubicBezTo>
                <a:lnTo>
                  <a:pt x="0" y="632"/>
                </a:lnTo>
                <a:cubicBezTo>
                  <a:pt x="0" y="628"/>
                  <a:pt x="4" y="624"/>
                  <a:pt x="8" y="624"/>
                </a:cubicBezTo>
                <a:cubicBezTo>
                  <a:pt x="13" y="624"/>
                  <a:pt x="16" y="628"/>
                  <a:pt x="16" y="632"/>
                </a:cubicBezTo>
                <a:close/>
                <a:moveTo>
                  <a:pt x="16" y="680"/>
                </a:moveTo>
                <a:lnTo>
                  <a:pt x="16" y="696"/>
                </a:lnTo>
                <a:cubicBezTo>
                  <a:pt x="16" y="701"/>
                  <a:pt x="13" y="704"/>
                  <a:pt x="8" y="704"/>
                </a:cubicBezTo>
                <a:cubicBezTo>
                  <a:pt x="4" y="704"/>
                  <a:pt x="0" y="701"/>
                  <a:pt x="0" y="696"/>
                </a:cubicBezTo>
                <a:lnTo>
                  <a:pt x="0" y="680"/>
                </a:lnTo>
                <a:cubicBezTo>
                  <a:pt x="0" y="676"/>
                  <a:pt x="4" y="672"/>
                  <a:pt x="8" y="672"/>
                </a:cubicBezTo>
                <a:cubicBezTo>
                  <a:pt x="13" y="672"/>
                  <a:pt x="16" y="676"/>
                  <a:pt x="16" y="680"/>
                </a:cubicBezTo>
                <a:close/>
                <a:moveTo>
                  <a:pt x="16" y="728"/>
                </a:moveTo>
                <a:lnTo>
                  <a:pt x="16" y="744"/>
                </a:lnTo>
                <a:cubicBezTo>
                  <a:pt x="16" y="749"/>
                  <a:pt x="13" y="752"/>
                  <a:pt x="8" y="752"/>
                </a:cubicBezTo>
                <a:cubicBezTo>
                  <a:pt x="4" y="752"/>
                  <a:pt x="0" y="749"/>
                  <a:pt x="0" y="744"/>
                </a:cubicBezTo>
                <a:lnTo>
                  <a:pt x="0" y="728"/>
                </a:lnTo>
                <a:cubicBezTo>
                  <a:pt x="0" y="724"/>
                  <a:pt x="4" y="720"/>
                  <a:pt x="8" y="720"/>
                </a:cubicBezTo>
                <a:cubicBezTo>
                  <a:pt x="13" y="720"/>
                  <a:pt x="16" y="724"/>
                  <a:pt x="16" y="728"/>
                </a:cubicBezTo>
                <a:close/>
                <a:moveTo>
                  <a:pt x="16" y="776"/>
                </a:moveTo>
                <a:lnTo>
                  <a:pt x="16" y="792"/>
                </a:lnTo>
                <a:cubicBezTo>
                  <a:pt x="16" y="797"/>
                  <a:pt x="13" y="800"/>
                  <a:pt x="8" y="800"/>
                </a:cubicBezTo>
                <a:cubicBezTo>
                  <a:pt x="4" y="800"/>
                  <a:pt x="0" y="797"/>
                  <a:pt x="0" y="792"/>
                </a:cubicBezTo>
                <a:lnTo>
                  <a:pt x="0" y="776"/>
                </a:lnTo>
                <a:cubicBezTo>
                  <a:pt x="0" y="772"/>
                  <a:pt x="4" y="768"/>
                  <a:pt x="8" y="768"/>
                </a:cubicBezTo>
                <a:cubicBezTo>
                  <a:pt x="13" y="768"/>
                  <a:pt x="16" y="772"/>
                  <a:pt x="16" y="776"/>
                </a:cubicBezTo>
                <a:close/>
                <a:moveTo>
                  <a:pt x="16" y="824"/>
                </a:moveTo>
                <a:lnTo>
                  <a:pt x="16" y="840"/>
                </a:lnTo>
                <a:cubicBezTo>
                  <a:pt x="16" y="845"/>
                  <a:pt x="13" y="848"/>
                  <a:pt x="8" y="848"/>
                </a:cubicBezTo>
                <a:cubicBezTo>
                  <a:pt x="4" y="848"/>
                  <a:pt x="0" y="845"/>
                  <a:pt x="0" y="840"/>
                </a:cubicBezTo>
                <a:lnTo>
                  <a:pt x="0" y="824"/>
                </a:lnTo>
                <a:cubicBezTo>
                  <a:pt x="0" y="820"/>
                  <a:pt x="4" y="816"/>
                  <a:pt x="8" y="816"/>
                </a:cubicBezTo>
                <a:cubicBezTo>
                  <a:pt x="13" y="816"/>
                  <a:pt x="16" y="820"/>
                  <a:pt x="16" y="824"/>
                </a:cubicBezTo>
                <a:close/>
                <a:moveTo>
                  <a:pt x="16" y="872"/>
                </a:moveTo>
                <a:lnTo>
                  <a:pt x="16" y="888"/>
                </a:lnTo>
                <a:cubicBezTo>
                  <a:pt x="16" y="893"/>
                  <a:pt x="13" y="896"/>
                  <a:pt x="8" y="896"/>
                </a:cubicBezTo>
                <a:cubicBezTo>
                  <a:pt x="4" y="896"/>
                  <a:pt x="0" y="893"/>
                  <a:pt x="0" y="888"/>
                </a:cubicBezTo>
                <a:lnTo>
                  <a:pt x="0" y="872"/>
                </a:lnTo>
                <a:cubicBezTo>
                  <a:pt x="0" y="868"/>
                  <a:pt x="4" y="864"/>
                  <a:pt x="8" y="864"/>
                </a:cubicBezTo>
                <a:cubicBezTo>
                  <a:pt x="13" y="864"/>
                  <a:pt x="16" y="868"/>
                  <a:pt x="16" y="872"/>
                </a:cubicBezTo>
                <a:close/>
                <a:moveTo>
                  <a:pt x="16" y="920"/>
                </a:moveTo>
                <a:lnTo>
                  <a:pt x="16" y="936"/>
                </a:lnTo>
                <a:cubicBezTo>
                  <a:pt x="16" y="941"/>
                  <a:pt x="13" y="944"/>
                  <a:pt x="8" y="944"/>
                </a:cubicBezTo>
                <a:cubicBezTo>
                  <a:pt x="4" y="944"/>
                  <a:pt x="0" y="941"/>
                  <a:pt x="0" y="936"/>
                </a:cubicBezTo>
                <a:lnTo>
                  <a:pt x="0" y="920"/>
                </a:lnTo>
                <a:cubicBezTo>
                  <a:pt x="0" y="916"/>
                  <a:pt x="4" y="912"/>
                  <a:pt x="8" y="912"/>
                </a:cubicBezTo>
                <a:cubicBezTo>
                  <a:pt x="13" y="912"/>
                  <a:pt x="16" y="916"/>
                  <a:pt x="16" y="920"/>
                </a:cubicBezTo>
                <a:close/>
                <a:moveTo>
                  <a:pt x="16" y="968"/>
                </a:moveTo>
                <a:lnTo>
                  <a:pt x="16" y="984"/>
                </a:lnTo>
                <a:cubicBezTo>
                  <a:pt x="16" y="989"/>
                  <a:pt x="13" y="992"/>
                  <a:pt x="8" y="992"/>
                </a:cubicBezTo>
                <a:cubicBezTo>
                  <a:pt x="4" y="992"/>
                  <a:pt x="0" y="989"/>
                  <a:pt x="0" y="984"/>
                </a:cubicBezTo>
                <a:lnTo>
                  <a:pt x="0" y="968"/>
                </a:lnTo>
                <a:cubicBezTo>
                  <a:pt x="0" y="964"/>
                  <a:pt x="4" y="960"/>
                  <a:pt x="8" y="960"/>
                </a:cubicBezTo>
                <a:cubicBezTo>
                  <a:pt x="13" y="960"/>
                  <a:pt x="16" y="964"/>
                  <a:pt x="16" y="968"/>
                </a:cubicBezTo>
                <a:close/>
                <a:moveTo>
                  <a:pt x="16" y="1016"/>
                </a:moveTo>
                <a:lnTo>
                  <a:pt x="16" y="1032"/>
                </a:lnTo>
                <a:cubicBezTo>
                  <a:pt x="16" y="1037"/>
                  <a:pt x="13" y="1040"/>
                  <a:pt x="8" y="1040"/>
                </a:cubicBezTo>
                <a:cubicBezTo>
                  <a:pt x="4" y="1040"/>
                  <a:pt x="0" y="1037"/>
                  <a:pt x="0" y="1032"/>
                </a:cubicBezTo>
                <a:lnTo>
                  <a:pt x="0" y="1016"/>
                </a:lnTo>
                <a:cubicBezTo>
                  <a:pt x="0" y="1012"/>
                  <a:pt x="4" y="1008"/>
                  <a:pt x="8" y="1008"/>
                </a:cubicBezTo>
                <a:cubicBezTo>
                  <a:pt x="13" y="1008"/>
                  <a:pt x="16" y="1012"/>
                  <a:pt x="16" y="1016"/>
                </a:cubicBezTo>
                <a:close/>
                <a:moveTo>
                  <a:pt x="16" y="1064"/>
                </a:moveTo>
                <a:lnTo>
                  <a:pt x="16" y="1080"/>
                </a:lnTo>
                <a:cubicBezTo>
                  <a:pt x="16" y="1085"/>
                  <a:pt x="13" y="1088"/>
                  <a:pt x="8" y="1088"/>
                </a:cubicBezTo>
                <a:cubicBezTo>
                  <a:pt x="4" y="1088"/>
                  <a:pt x="0" y="1085"/>
                  <a:pt x="0" y="1080"/>
                </a:cubicBezTo>
                <a:lnTo>
                  <a:pt x="0" y="1064"/>
                </a:lnTo>
                <a:cubicBezTo>
                  <a:pt x="0" y="1060"/>
                  <a:pt x="4" y="1056"/>
                  <a:pt x="8" y="1056"/>
                </a:cubicBezTo>
                <a:cubicBezTo>
                  <a:pt x="13" y="1056"/>
                  <a:pt x="16" y="1060"/>
                  <a:pt x="16" y="1064"/>
                </a:cubicBezTo>
                <a:close/>
                <a:moveTo>
                  <a:pt x="16" y="1112"/>
                </a:moveTo>
                <a:lnTo>
                  <a:pt x="16" y="1128"/>
                </a:lnTo>
                <a:cubicBezTo>
                  <a:pt x="16" y="1133"/>
                  <a:pt x="13" y="1136"/>
                  <a:pt x="8" y="1136"/>
                </a:cubicBezTo>
                <a:cubicBezTo>
                  <a:pt x="4" y="1136"/>
                  <a:pt x="0" y="1133"/>
                  <a:pt x="0" y="1128"/>
                </a:cubicBezTo>
                <a:lnTo>
                  <a:pt x="0" y="1112"/>
                </a:lnTo>
                <a:cubicBezTo>
                  <a:pt x="0" y="1108"/>
                  <a:pt x="4" y="1104"/>
                  <a:pt x="8" y="1104"/>
                </a:cubicBezTo>
                <a:cubicBezTo>
                  <a:pt x="13" y="1104"/>
                  <a:pt x="16" y="1108"/>
                  <a:pt x="16" y="1112"/>
                </a:cubicBezTo>
                <a:close/>
                <a:moveTo>
                  <a:pt x="16" y="1160"/>
                </a:moveTo>
                <a:lnTo>
                  <a:pt x="16" y="1176"/>
                </a:lnTo>
                <a:cubicBezTo>
                  <a:pt x="16" y="1181"/>
                  <a:pt x="13" y="1184"/>
                  <a:pt x="8" y="1184"/>
                </a:cubicBezTo>
                <a:cubicBezTo>
                  <a:pt x="4" y="1184"/>
                  <a:pt x="0" y="1181"/>
                  <a:pt x="0" y="1176"/>
                </a:cubicBezTo>
                <a:lnTo>
                  <a:pt x="0" y="1160"/>
                </a:lnTo>
                <a:cubicBezTo>
                  <a:pt x="0" y="1156"/>
                  <a:pt x="4" y="1152"/>
                  <a:pt x="8" y="1152"/>
                </a:cubicBezTo>
                <a:cubicBezTo>
                  <a:pt x="13" y="1152"/>
                  <a:pt x="16" y="1156"/>
                  <a:pt x="16" y="1160"/>
                </a:cubicBezTo>
                <a:close/>
                <a:moveTo>
                  <a:pt x="16" y="1208"/>
                </a:moveTo>
                <a:lnTo>
                  <a:pt x="16" y="1224"/>
                </a:lnTo>
                <a:cubicBezTo>
                  <a:pt x="16" y="1229"/>
                  <a:pt x="13" y="1232"/>
                  <a:pt x="8" y="1232"/>
                </a:cubicBezTo>
                <a:cubicBezTo>
                  <a:pt x="4" y="1232"/>
                  <a:pt x="0" y="1229"/>
                  <a:pt x="0" y="1224"/>
                </a:cubicBezTo>
                <a:lnTo>
                  <a:pt x="0" y="1208"/>
                </a:lnTo>
                <a:cubicBezTo>
                  <a:pt x="0" y="1204"/>
                  <a:pt x="4" y="1200"/>
                  <a:pt x="8" y="1200"/>
                </a:cubicBezTo>
                <a:cubicBezTo>
                  <a:pt x="13" y="1200"/>
                  <a:pt x="16" y="1204"/>
                  <a:pt x="16" y="1208"/>
                </a:cubicBezTo>
                <a:close/>
                <a:moveTo>
                  <a:pt x="16" y="1256"/>
                </a:moveTo>
                <a:lnTo>
                  <a:pt x="16" y="1272"/>
                </a:lnTo>
                <a:cubicBezTo>
                  <a:pt x="16" y="1277"/>
                  <a:pt x="13" y="1280"/>
                  <a:pt x="8" y="1280"/>
                </a:cubicBezTo>
                <a:cubicBezTo>
                  <a:pt x="4" y="1280"/>
                  <a:pt x="0" y="1277"/>
                  <a:pt x="0" y="1272"/>
                </a:cubicBezTo>
                <a:lnTo>
                  <a:pt x="0" y="1256"/>
                </a:lnTo>
                <a:cubicBezTo>
                  <a:pt x="0" y="1252"/>
                  <a:pt x="4" y="1248"/>
                  <a:pt x="8" y="1248"/>
                </a:cubicBezTo>
                <a:cubicBezTo>
                  <a:pt x="13" y="1248"/>
                  <a:pt x="16" y="1252"/>
                  <a:pt x="16" y="1256"/>
                </a:cubicBezTo>
                <a:close/>
                <a:moveTo>
                  <a:pt x="16" y="1304"/>
                </a:moveTo>
                <a:lnTo>
                  <a:pt x="16" y="1320"/>
                </a:lnTo>
                <a:cubicBezTo>
                  <a:pt x="16" y="1325"/>
                  <a:pt x="13" y="1328"/>
                  <a:pt x="8" y="1328"/>
                </a:cubicBezTo>
                <a:cubicBezTo>
                  <a:pt x="4" y="1328"/>
                  <a:pt x="0" y="1325"/>
                  <a:pt x="0" y="1320"/>
                </a:cubicBezTo>
                <a:lnTo>
                  <a:pt x="0" y="1304"/>
                </a:lnTo>
                <a:cubicBezTo>
                  <a:pt x="0" y="1300"/>
                  <a:pt x="4" y="1296"/>
                  <a:pt x="8" y="1296"/>
                </a:cubicBezTo>
                <a:cubicBezTo>
                  <a:pt x="13" y="1296"/>
                  <a:pt x="16" y="1300"/>
                  <a:pt x="16" y="1304"/>
                </a:cubicBezTo>
                <a:close/>
                <a:moveTo>
                  <a:pt x="16" y="1352"/>
                </a:moveTo>
                <a:lnTo>
                  <a:pt x="16" y="1368"/>
                </a:lnTo>
                <a:cubicBezTo>
                  <a:pt x="16" y="1373"/>
                  <a:pt x="13" y="1376"/>
                  <a:pt x="8" y="1376"/>
                </a:cubicBezTo>
                <a:cubicBezTo>
                  <a:pt x="4" y="1376"/>
                  <a:pt x="0" y="1373"/>
                  <a:pt x="0" y="1368"/>
                </a:cubicBezTo>
                <a:lnTo>
                  <a:pt x="0" y="1352"/>
                </a:lnTo>
                <a:cubicBezTo>
                  <a:pt x="0" y="1348"/>
                  <a:pt x="4" y="1344"/>
                  <a:pt x="8" y="1344"/>
                </a:cubicBezTo>
                <a:cubicBezTo>
                  <a:pt x="13" y="1344"/>
                  <a:pt x="16" y="1348"/>
                  <a:pt x="16" y="1352"/>
                </a:cubicBezTo>
                <a:close/>
                <a:moveTo>
                  <a:pt x="16" y="1400"/>
                </a:moveTo>
                <a:lnTo>
                  <a:pt x="16" y="1416"/>
                </a:lnTo>
                <a:cubicBezTo>
                  <a:pt x="16" y="1421"/>
                  <a:pt x="13" y="1424"/>
                  <a:pt x="8" y="1424"/>
                </a:cubicBezTo>
                <a:cubicBezTo>
                  <a:pt x="4" y="1424"/>
                  <a:pt x="0" y="1421"/>
                  <a:pt x="0" y="1416"/>
                </a:cubicBezTo>
                <a:lnTo>
                  <a:pt x="0" y="1400"/>
                </a:lnTo>
                <a:cubicBezTo>
                  <a:pt x="0" y="1396"/>
                  <a:pt x="4" y="1392"/>
                  <a:pt x="8" y="1392"/>
                </a:cubicBezTo>
                <a:cubicBezTo>
                  <a:pt x="13" y="1392"/>
                  <a:pt x="16" y="1396"/>
                  <a:pt x="16" y="1400"/>
                </a:cubicBezTo>
                <a:close/>
                <a:moveTo>
                  <a:pt x="16" y="1448"/>
                </a:moveTo>
                <a:lnTo>
                  <a:pt x="16" y="1464"/>
                </a:lnTo>
                <a:cubicBezTo>
                  <a:pt x="16" y="1469"/>
                  <a:pt x="13" y="1472"/>
                  <a:pt x="8" y="1472"/>
                </a:cubicBezTo>
                <a:cubicBezTo>
                  <a:pt x="4" y="1472"/>
                  <a:pt x="0" y="1469"/>
                  <a:pt x="0" y="1464"/>
                </a:cubicBezTo>
                <a:lnTo>
                  <a:pt x="0" y="1448"/>
                </a:lnTo>
                <a:cubicBezTo>
                  <a:pt x="0" y="1444"/>
                  <a:pt x="4" y="1440"/>
                  <a:pt x="8" y="1440"/>
                </a:cubicBezTo>
                <a:cubicBezTo>
                  <a:pt x="13" y="1440"/>
                  <a:pt x="16" y="1444"/>
                  <a:pt x="16" y="1448"/>
                </a:cubicBezTo>
                <a:close/>
                <a:moveTo>
                  <a:pt x="16" y="1496"/>
                </a:moveTo>
                <a:lnTo>
                  <a:pt x="16" y="1512"/>
                </a:lnTo>
                <a:cubicBezTo>
                  <a:pt x="16" y="1517"/>
                  <a:pt x="13" y="1520"/>
                  <a:pt x="8" y="1520"/>
                </a:cubicBezTo>
                <a:cubicBezTo>
                  <a:pt x="4" y="1520"/>
                  <a:pt x="0" y="1517"/>
                  <a:pt x="0" y="1512"/>
                </a:cubicBezTo>
                <a:lnTo>
                  <a:pt x="0" y="1496"/>
                </a:lnTo>
                <a:cubicBezTo>
                  <a:pt x="0" y="1492"/>
                  <a:pt x="4" y="1488"/>
                  <a:pt x="8" y="1488"/>
                </a:cubicBezTo>
                <a:cubicBezTo>
                  <a:pt x="13" y="1488"/>
                  <a:pt x="16" y="1492"/>
                  <a:pt x="16" y="1496"/>
                </a:cubicBezTo>
                <a:close/>
                <a:moveTo>
                  <a:pt x="16" y="1544"/>
                </a:moveTo>
                <a:lnTo>
                  <a:pt x="16" y="1560"/>
                </a:lnTo>
                <a:cubicBezTo>
                  <a:pt x="16" y="1565"/>
                  <a:pt x="13" y="1568"/>
                  <a:pt x="8" y="1568"/>
                </a:cubicBezTo>
                <a:cubicBezTo>
                  <a:pt x="4" y="1568"/>
                  <a:pt x="0" y="1565"/>
                  <a:pt x="0" y="1560"/>
                </a:cubicBezTo>
                <a:lnTo>
                  <a:pt x="0" y="1544"/>
                </a:lnTo>
                <a:cubicBezTo>
                  <a:pt x="0" y="1540"/>
                  <a:pt x="4" y="1536"/>
                  <a:pt x="8" y="1536"/>
                </a:cubicBezTo>
                <a:cubicBezTo>
                  <a:pt x="13" y="1536"/>
                  <a:pt x="16" y="1540"/>
                  <a:pt x="16" y="1544"/>
                </a:cubicBezTo>
                <a:close/>
                <a:moveTo>
                  <a:pt x="16" y="1592"/>
                </a:moveTo>
                <a:lnTo>
                  <a:pt x="16" y="1608"/>
                </a:lnTo>
                <a:cubicBezTo>
                  <a:pt x="16" y="1613"/>
                  <a:pt x="13" y="1616"/>
                  <a:pt x="8" y="1616"/>
                </a:cubicBezTo>
                <a:cubicBezTo>
                  <a:pt x="4" y="1616"/>
                  <a:pt x="0" y="1613"/>
                  <a:pt x="0" y="1608"/>
                </a:cubicBezTo>
                <a:lnTo>
                  <a:pt x="0" y="1592"/>
                </a:lnTo>
                <a:cubicBezTo>
                  <a:pt x="0" y="1588"/>
                  <a:pt x="4" y="1584"/>
                  <a:pt x="8" y="1584"/>
                </a:cubicBezTo>
                <a:cubicBezTo>
                  <a:pt x="13" y="1584"/>
                  <a:pt x="16" y="1588"/>
                  <a:pt x="16" y="1592"/>
                </a:cubicBezTo>
                <a:close/>
                <a:moveTo>
                  <a:pt x="16" y="1640"/>
                </a:moveTo>
                <a:lnTo>
                  <a:pt x="16" y="1656"/>
                </a:lnTo>
                <a:cubicBezTo>
                  <a:pt x="16" y="1661"/>
                  <a:pt x="13" y="1664"/>
                  <a:pt x="8" y="1664"/>
                </a:cubicBezTo>
                <a:cubicBezTo>
                  <a:pt x="4" y="1664"/>
                  <a:pt x="0" y="1661"/>
                  <a:pt x="0" y="1656"/>
                </a:cubicBezTo>
                <a:lnTo>
                  <a:pt x="0" y="1640"/>
                </a:lnTo>
                <a:cubicBezTo>
                  <a:pt x="0" y="1636"/>
                  <a:pt x="4" y="1632"/>
                  <a:pt x="8" y="1632"/>
                </a:cubicBezTo>
                <a:cubicBezTo>
                  <a:pt x="13" y="1632"/>
                  <a:pt x="16" y="1636"/>
                  <a:pt x="16" y="1640"/>
                </a:cubicBezTo>
                <a:close/>
                <a:moveTo>
                  <a:pt x="16" y="1688"/>
                </a:moveTo>
                <a:lnTo>
                  <a:pt x="16" y="1704"/>
                </a:lnTo>
                <a:cubicBezTo>
                  <a:pt x="16" y="1709"/>
                  <a:pt x="13" y="1712"/>
                  <a:pt x="8" y="1712"/>
                </a:cubicBezTo>
                <a:cubicBezTo>
                  <a:pt x="4" y="1712"/>
                  <a:pt x="0" y="1709"/>
                  <a:pt x="0" y="1704"/>
                </a:cubicBezTo>
                <a:lnTo>
                  <a:pt x="0" y="1688"/>
                </a:lnTo>
                <a:cubicBezTo>
                  <a:pt x="0" y="1684"/>
                  <a:pt x="4" y="1680"/>
                  <a:pt x="8" y="1680"/>
                </a:cubicBezTo>
                <a:cubicBezTo>
                  <a:pt x="13" y="1680"/>
                  <a:pt x="16" y="1684"/>
                  <a:pt x="16" y="1688"/>
                </a:cubicBezTo>
                <a:close/>
                <a:moveTo>
                  <a:pt x="16" y="1736"/>
                </a:moveTo>
                <a:lnTo>
                  <a:pt x="16" y="1752"/>
                </a:lnTo>
                <a:cubicBezTo>
                  <a:pt x="16" y="1757"/>
                  <a:pt x="13" y="1760"/>
                  <a:pt x="8" y="1760"/>
                </a:cubicBezTo>
                <a:cubicBezTo>
                  <a:pt x="4" y="1760"/>
                  <a:pt x="0" y="1757"/>
                  <a:pt x="0" y="1752"/>
                </a:cubicBezTo>
                <a:lnTo>
                  <a:pt x="0" y="1736"/>
                </a:lnTo>
                <a:cubicBezTo>
                  <a:pt x="0" y="1732"/>
                  <a:pt x="4" y="1728"/>
                  <a:pt x="8" y="1728"/>
                </a:cubicBezTo>
                <a:cubicBezTo>
                  <a:pt x="13" y="1728"/>
                  <a:pt x="16" y="1732"/>
                  <a:pt x="16" y="1736"/>
                </a:cubicBezTo>
                <a:close/>
                <a:moveTo>
                  <a:pt x="16" y="1784"/>
                </a:moveTo>
                <a:lnTo>
                  <a:pt x="16" y="1800"/>
                </a:lnTo>
                <a:cubicBezTo>
                  <a:pt x="16" y="1805"/>
                  <a:pt x="13" y="1808"/>
                  <a:pt x="8" y="1808"/>
                </a:cubicBezTo>
                <a:cubicBezTo>
                  <a:pt x="4" y="1808"/>
                  <a:pt x="0" y="1805"/>
                  <a:pt x="0" y="1800"/>
                </a:cubicBezTo>
                <a:lnTo>
                  <a:pt x="0" y="1784"/>
                </a:lnTo>
                <a:cubicBezTo>
                  <a:pt x="0" y="1780"/>
                  <a:pt x="4" y="1776"/>
                  <a:pt x="8" y="1776"/>
                </a:cubicBezTo>
                <a:cubicBezTo>
                  <a:pt x="13" y="1776"/>
                  <a:pt x="16" y="1780"/>
                  <a:pt x="16" y="1784"/>
                </a:cubicBezTo>
                <a:close/>
                <a:moveTo>
                  <a:pt x="16" y="1832"/>
                </a:moveTo>
                <a:lnTo>
                  <a:pt x="16" y="1848"/>
                </a:lnTo>
                <a:cubicBezTo>
                  <a:pt x="16" y="1853"/>
                  <a:pt x="13" y="1856"/>
                  <a:pt x="8" y="1856"/>
                </a:cubicBezTo>
                <a:cubicBezTo>
                  <a:pt x="4" y="1856"/>
                  <a:pt x="0" y="1853"/>
                  <a:pt x="0" y="1848"/>
                </a:cubicBezTo>
                <a:lnTo>
                  <a:pt x="0" y="1832"/>
                </a:lnTo>
                <a:cubicBezTo>
                  <a:pt x="0" y="1828"/>
                  <a:pt x="4" y="1824"/>
                  <a:pt x="8" y="1824"/>
                </a:cubicBezTo>
                <a:cubicBezTo>
                  <a:pt x="13" y="1824"/>
                  <a:pt x="16" y="1828"/>
                  <a:pt x="16" y="1832"/>
                </a:cubicBezTo>
                <a:close/>
                <a:moveTo>
                  <a:pt x="16" y="1880"/>
                </a:moveTo>
                <a:lnTo>
                  <a:pt x="16" y="1896"/>
                </a:lnTo>
                <a:cubicBezTo>
                  <a:pt x="16" y="1901"/>
                  <a:pt x="13" y="1904"/>
                  <a:pt x="8" y="1904"/>
                </a:cubicBezTo>
                <a:cubicBezTo>
                  <a:pt x="4" y="1904"/>
                  <a:pt x="0" y="1901"/>
                  <a:pt x="0" y="1896"/>
                </a:cubicBezTo>
                <a:lnTo>
                  <a:pt x="0" y="1880"/>
                </a:lnTo>
                <a:cubicBezTo>
                  <a:pt x="0" y="1876"/>
                  <a:pt x="4" y="1872"/>
                  <a:pt x="8" y="1872"/>
                </a:cubicBezTo>
                <a:cubicBezTo>
                  <a:pt x="13" y="1872"/>
                  <a:pt x="16" y="1876"/>
                  <a:pt x="16" y="1880"/>
                </a:cubicBezTo>
                <a:close/>
                <a:moveTo>
                  <a:pt x="16" y="1928"/>
                </a:moveTo>
                <a:lnTo>
                  <a:pt x="16" y="1944"/>
                </a:lnTo>
                <a:cubicBezTo>
                  <a:pt x="16" y="1949"/>
                  <a:pt x="13" y="1952"/>
                  <a:pt x="8" y="1952"/>
                </a:cubicBezTo>
                <a:cubicBezTo>
                  <a:pt x="4" y="1952"/>
                  <a:pt x="0" y="1949"/>
                  <a:pt x="0" y="1944"/>
                </a:cubicBezTo>
                <a:lnTo>
                  <a:pt x="0" y="1928"/>
                </a:lnTo>
                <a:cubicBezTo>
                  <a:pt x="0" y="1924"/>
                  <a:pt x="4" y="1920"/>
                  <a:pt x="8" y="1920"/>
                </a:cubicBezTo>
                <a:cubicBezTo>
                  <a:pt x="13" y="1920"/>
                  <a:pt x="16" y="1924"/>
                  <a:pt x="16" y="1928"/>
                </a:cubicBezTo>
                <a:close/>
                <a:moveTo>
                  <a:pt x="16" y="1976"/>
                </a:moveTo>
                <a:lnTo>
                  <a:pt x="16" y="1992"/>
                </a:lnTo>
                <a:cubicBezTo>
                  <a:pt x="16" y="1997"/>
                  <a:pt x="13" y="2000"/>
                  <a:pt x="8" y="2000"/>
                </a:cubicBezTo>
                <a:cubicBezTo>
                  <a:pt x="4" y="2000"/>
                  <a:pt x="0" y="1997"/>
                  <a:pt x="0" y="1992"/>
                </a:cubicBezTo>
                <a:lnTo>
                  <a:pt x="0" y="1976"/>
                </a:lnTo>
                <a:cubicBezTo>
                  <a:pt x="0" y="1972"/>
                  <a:pt x="4" y="1968"/>
                  <a:pt x="8" y="1968"/>
                </a:cubicBezTo>
                <a:cubicBezTo>
                  <a:pt x="13" y="1968"/>
                  <a:pt x="16" y="1972"/>
                  <a:pt x="16" y="1976"/>
                </a:cubicBezTo>
                <a:close/>
                <a:moveTo>
                  <a:pt x="16" y="2024"/>
                </a:moveTo>
                <a:lnTo>
                  <a:pt x="16" y="2040"/>
                </a:lnTo>
                <a:cubicBezTo>
                  <a:pt x="16" y="2045"/>
                  <a:pt x="13" y="2048"/>
                  <a:pt x="8" y="2048"/>
                </a:cubicBezTo>
                <a:cubicBezTo>
                  <a:pt x="4" y="2048"/>
                  <a:pt x="0" y="2045"/>
                  <a:pt x="0" y="2040"/>
                </a:cubicBezTo>
                <a:lnTo>
                  <a:pt x="0" y="2024"/>
                </a:lnTo>
                <a:cubicBezTo>
                  <a:pt x="0" y="2020"/>
                  <a:pt x="4" y="2016"/>
                  <a:pt x="8" y="2016"/>
                </a:cubicBezTo>
                <a:cubicBezTo>
                  <a:pt x="13" y="2016"/>
                  <a:pt x="16" y="2020"/>
                  <a:pt x="16" y="2024"/>
                </a:cubicBezTo>
                <a:close/>
                <a:moveTo>
                  <a:pt x="16" y="2072"/>
                </a:moveTo>
                <a:lnTo>
                  <a:pt x="16" y="2088"/>
                </a:lnTo>
                <a:cubicBezTo>
                  <a:pt x="16" y="2093"/>
                  <a:pt x="13" y="2096"/>
                  <a:pt x="8" y="2096"/>
                </a:cubicBezTo>
                <a:cubicBezTo>
                  <a:pt x="4" y="2096"/>
                  <a:pt x="0" y="2093"/>
                  <a:pt x="0" y="2088"/>
                </a:cubicBezTo>
                <a:lnTo>
                  <a:pt x="0" y="2072"/>
                </a:lnTo>
                <a:cubicBezTo>
                  <a:pt x="0" y="2068"/>
                  <a:pt x="4" y="2064"/>
                  <a:pt x="8" y="2064"/>
                </a:cubicBezTo>
                <a:cubicBezTo>
                  <a:pt x="13" y="2064"/>
                  <a:pt x="16" y="2068"/>
                  <a:pt x="16" y="2072"/>
                </a:cubicBezTo>
                <a:close/>
                <a:moveTo>
                  <a:pt x="16" y="2120"/>
                </a:moveTo>
                <a:lnTo>
                  <a:pt x="16" y="2136"/>
                </a:lnTo>
                <a:cubicBezTo>
                  <a:pt x="16" y="2141"/>
                  <a:pt x="13" y="2144"/>
                  <a:pt x="8" y="2144"/>
                </a:cubicBezTo>
                <a:cubicBezTo>
                  <a:pt x="4" y="2144"/>
                  <a:pt x="0" y="2141"/>
                  <a:pt x="0" y="2136"/>
                </a:cubicBezTo>
                <a:lnTo>
                  <a:pt x="0" y="2120"/>
                </a:lnTo>
                <a:cubicBezTo>
                  <a:pt x="0" y="2116"/>
                  <a:pt x="4" y="2112"/>
                  <a:pt x="8" y="2112"/>
                </a:cubicBezTo>
                <a:cubicBezTo>
                  <a:pt x="13" y="2112"/>
                  <a:pt x="16" y="2116"/>
                  <a:pt x="16" y="2120"/>
                </a:cubicBezTo>
                <a:close/>
                <a:moveTo>
                  <a:pt x="16" y="2168"/>
                </a:moveTo>
                <a:lnTo>
                  <a:pt x="16" y="2184"/>
                </a:lnTo>
                <a:cubicBezTo>
                  <a:pt x="16" y="2189"/>
                  <a:pt x="13" y="2192"/>
                  <a:pt x="8" y="2192"/>
                </a:cubicBezTo>
                <a:cubicBezTo>
                  <a:pt x="4" y="2192"/>
                  <a:pt x="0" y="2189"/>
                  <a:pt x="0" y="2184"/>
                </a:cubicBezTo>
                <a:lnTo>
                  <a:pt x="0" y="2168"/>
                </a:lnTo>
                <a:cubicBezTo>
                  <a:pt x="0" y="2164"/>
                  <a:pt x="4" y="2160"/>
                  <a:pt x="8" y="2160"/>
                </a:cubicBezTo>
                <a:cubicBezTo>
                  <a:pt x="13" y="2160"/>
                  <a:pt x="16" y="2164"/>
                  <a:pt x="16" y="2168"/>
                </a:cubicBezTo>
                <a:close/>
                <a:moveTo>
                  <a:pt x="16" y="2216"/>
                </a:moveTo>
                <a:lnTo>
                  <a:pt x="16" y="2232"/>
                </a:lnTo>
                <a:cubicBezTo>
                  <a:pt x="16" y="2237"/>
                  <a:pt x="13" y="2240"/>
                  <a:pt x="8" y="2240"/>
                </a:cubicBezTo>
                <a:cubicBezTo>
                  <a:pt x="4" y="2240"/>
                  <a:pt x="0" y="2237"/>
                  <a:pt x="0" y="2232"/>
                </a:cubicBezTo>
                <a:lnTo>
                  <a:pt x="0" y="2216"/>
                </a:lnTo>
                <a:cubicBezTo>
                  <a:pt x="0" y="2212"/>
                  <a:pt x="4" y="2208"/>
                  <a:pt x="8" y="2208"/>
                </a:cubicBezTo>
                <a:cubicBezTo>
                  <a:pt x="13" y="2208"/>
                  <a:pt x="16" y="2212"/>
                  <a:pt x="16" y="2216"/>
                </a:cubicBezTo>
                <a:close/>
                <a:moveTo>
                  <a:pt x="16" y="2264"/>
                </a:moveTo>
                <a:lnTo>
                  <a:pt x="16" y="2280"/>
                </a:lnTo>
                <a:cubicBezTo>
                  <a:pt x="16" y="2285"/>
                  <a:pt x="13" y="2288"/>
                  <a:pt x="8" y="2288"/>
                </a:cubicBezTo>
                <a:cubicBezTo>
                  <a:pt x="4" y="2288"/>
                  <a:pt x="0" y="2285"/>
                  <a:pt x="0" y="2280"/>
                </a:cubicBezTo>
                <a:lnTo>
                  <a:pt x="0" y="2264"/>
                </a:lnTo>
                <a:cubicBezTo>
                  <a:pt x="0" y="2260"/>
                  <a:pt x="4" y="2256"/>
                  <a:pt x="8" y="2256"/>
                </a:cubicBezTo>
                <a:cubicBezTo>
                  <a:pt x="13" y="2256"/>
                  <a:pt x="16" y="2260"/>
                  <a:pt x="16" y="2264"/>
                </a:cubicBezTo>
                <a:close/>
                <a:moveTo>
                  <a:pt x="16" y="2312"/>
                </a:moveTo>
                <a:lnTo>
                  <a:pt x="16" y="2328"/>
                </a:lnTo>
                <a:cubicBezTo>
                  <a:pt x="16" y="2333"/>
                  <a:pt x="13" y="2336"/>
                  <a:pt x="8" y="2336"/>
                </a:cubicBezTo>
                <a:cubicBezTo>
                  <a:pt x="4" y="2336"/>
                  <a:pt x="0" y="2333"/>
                  <a:pt x="0" y="2328"/>
                </a:cubicBezTo>
                <a:lnTo>
                  <a:pt x="0" y="2312"/>
                </a:lnTo>
                <a:cubicBezTo>
                  <a:pt x="0" y="2308"/>
                  <a:pt x="4" y="2304"/>
                  <a:pt x="8" y="2304"/>
                </a:cubicBezTo>
                <a:cubicBezTo>
                  <a:pt x="13" y="2304"/>
                  <a:pt x="16" y="2308"/>
                  <a:pt x="16" y="2312"/>
                </a:cubicBezTo>
                <a:close/>
                <a:moveTo>
                  <a:pt x="16" y="2360"/>
                </a:moveTo>
                <a:lnTo>
                  <a:pt x="16" y="2376"/>
                </a:lnTo>
                <a:cubicBezTo>
                  <a:pt x="16" y="2381"/>
                  <a:pt x="13" y="2384"/>
                  <a:pt x="8" y="2384"/>
                </a:cubicBezTo>
                <a:cubicBezTo>
                  <a:pt x="4" y="2384"/>
                  <a:pt x="0" y="2381"/>
                  <a:pt x="0" y="2376"/>
                </a:cubicBezTo>
                <a:lnTo>
                  <a:pt x="0" y="2360"/>
                </a:lnTo>
                <a:cubicBezTo>
                  <a:pt x="0" y="2356"/>
                  <a:pt x="4" y="2352"/>
                  <a:pt x="8" y="2352"/>
                </a:cubicBezTo>
                <a:cubicBezTo>
                  <a:pt x="13" y="2352"/>
                  <a:pt x="16" y="2356"/>
                  <a:pt x="16" y="2360"/>
                </a:cubicBezTo>
                <a:close/>
                <a:moveTo>
                  <a:pt x="16" y="2408"/>
                </a:moveTo>
                <a:lnTo>
                  <a:pt x="16" y="2424"/>
                </a:lnTo>
                <a:cubicBezTo>
                  <a:pt x="16" y="2429"/>
                  <a:pt x="13" y="2432"/>
                  <a:pt x="8" y="2432"/>
                </a:cubicBezTo>
                <a:cubicBezTo>
                  <a:pt x="4" y="2432"/>
                  <a:pt x="0" y="2429"/>
                  <a:pt x="0" y="2424"/>
                </a:cubicBezTo>
                <a:lnTo>
                  <a:pt x="0" y="2408"/>
                </a:lnTo>
                <a:cubicBezTo>
                  <a:pt x="0" y="2404"/>
                  <a:pt x="4" y="2400"/>
                  <a:pt x="8" y="2400"/>
                </a:cubicBezTo>
                <a:cubicBezTo>
                  <a:pt x="13" y="2400"/>
                  <a:pt x="16" y="2404"/>
                  <a:pt x="16" y="2408"/>
                </a:cubicBezTo>
                <a:close/>
                <a:moveTo>
                  <a:pt x="16" y="2456"/>
                </a:moveTo>
                <a:lnTo>
                  <a:pt x="16" y="2472"/>
                </a:lnTo>
                <a:cubicBezTo>
                  <a:pt x="16" y="2477"/>
                  <a:pt x="13" y="2480"/>
                  <a:pt x="8" y="2480"/>
                </a:cubicBezTo>
                <a:cubicBezTo>
                  <a:pt x="4" y="2480"/>
                  <a:pt x="0" y="2477"/>
                  <a:pt x="0" y="2472"/>
                </a:cubicBezTo>
                <a:lnTo>
                  <a:pt x="0" y="2456"/>
                </a:lnTo>
                <a:cubicBezTo>
                  <a:pt x="0" y="2452"/>
                  <a:pt x="4" y="2448"/>
                  <a:pt x="8" y="2448"/>
                </a:cubicBezTo>
                <a:cubicBezTo>
                  <a:pt x="13" y="2448"/>
                  <a:pt x="16" y="2452"/>
                  <a:pt x="16" y="2456"/>
                </a:cubicBezTo>
                <a:close/>
                <a:moveTo>
                  <a:pt x="16" y="2504"/>
                </a:moveTo>
                <a:lnTo>
                  <a:pt x="16" y="2520"/>
                </a:lnTo>
                <a:cubicBezTo>
                  <a:pt x="16" y="2525"/>
                  <a:pt x="13" y="2528"/>
                  <a:pt x="8" y="2528"/>
                </a:cubicBezTo>
                <a:cubicBezTo>
                  <a:pt x="4" y="2528"/>
                  <a:pt x="0" y="2525"/>
                  <a:pt x="0" y="2520"/>
                </a:cubicBezTo>
                <a:lnTo>
                  <a:pt x="0" y="2504"/>
                </a:lnTo>
                <a:cubicBezTo>
                  <a:pt x="0" y="2500"/>
                  <a:pt x="4" y="2496"/>
                  <a:pt x="8" y="2496"/>
                </a:cubicBezTo>
                <a:cubicBezTo>
                  <a:pt x="13" y="2496"/>
                  <a:pt x="16" y="2500"/>
                  <a:pt x="16" y="2504"/>
                </a:cubicBezTo>
                <a:close/>
                <a:moveTo>
                  <a:pt x="16" y="2552"/>
                </a:moveTo>
                <a:lnTo>
                  <a:pt x="16" y="2568"/>
                </a:lnTo>
                <a:cubicBezTo>
                  <a:pt x="16" y="2573"/>
                  <a:pt x="13" y="2576"/>
                  <a:pt x="8" y="2576"/>
                </a:cubicBezTo>
                <a:cubicBezTo>
                  <a:pt x="4" y="2576"/>
                  <a:pt x="0" y="2573"/>
                  <a:pt x="0" y="2568"/>
                </a:cubicBezTo>
                <a:lnTo>
                  <a:pt x="0" y="2552"/>
                </a:lnTo>
                <a:cubicBezTo>
                  <a:pt x="0" y="2548"/>
                  <a:pt x="4" y="2544"/>
                  <a:pt x="8" y="2544"/>
                </a:cubicBezTo>
                <a:cubicBezTo>
                  <a:pt x="13" y="2544"/>
                  <a:pt x="16" y="2548"/>
                  <a:pt x="16" y="2552"/>
                </a:cubicBezTo>
                <a:close/>
                <a:moveTo>
                  <a:pt x="16" y="2600"/>
                </a:moveTo>
                <a:lnTo>
                  <a:pt x="16" y="2616"/>
                </a:lnTo>
                <a:cubicBezTo>
                  <a:pt x="16" y="2621"/>
                  <a:pt x="13" y="2624"/>
                  <a:pt x="8" y="2624"/>
                </a:cubicBezTo>
                <a:cubicBezTo>
                  <a:pt x="4" y="2624"/>
                  <a:pt x="0" y="2621"/>
                  <a:pt x="0" y="2616"/>
                </a:cubicBezTo>
                <a:lnTo>
                  <a:pt x="0" y="2600"/>
                </a:lnTo>
                <a:cubicBezTo>
                  <a:pt x="0" y="2596"/>
                  <a:pt x="4" y="2592"/>
                  <a:pt x="8" y="2592"/>
                </a:cubicBezTo>
                <a:cubicBezTo>
                  <a:pt x="13" y="2592"/>
                  <a:pt x="16" y="2596"/>
                  <a:pt x="16" y="2600"/>
                </a:cubicBezTo>
                <a:close/>
                <a:moveTo>
                  <a:pt x="16" y="2648"/>
                </a:moveTo>
                <a:lnTo>
                  <a:pt x="16" y="2664"/>
                </a:lnTo>
                <a:cubicBezTo>
                  <a:pt x="16" y="2669"/>
                  <a:pt x="13" y="2672"/>
                  <a:pt x="8" y="2672"/>
                </a:cubicBezTo>
                <a:cubicBezTo>
                  <a:pt x="4" y="2672"/>
                  <a:pt x="0" y="2669"/>
                  <a:pt x="0" y="2664"/>
                </a:cubicBezTo>
                <a:lnTo>
                  <a:pt x="0" y="2648"/>
                </a:lnTo>
                <a:cubicBezTo>
                  <a:pt x="0" y="2644"/>
                  <a:pt x="4" y="2640"/>
                  <a:pt x="8" y="2640"/>
                </a:cubicBezTo>
                <a:cubicBezTo>
                  <a:pt x="13" y="2640"/>
                  <a:pt x="16" y="2644"/>
                  <a:pt x="16" y="2648"/>
                </a:cubicBezTo>
                <a:close/>
                <a:moveTo>
                  <a:pt x="16" y="2696"/>
                </a:moveTo>
                <a:lnTo>
                  <a:pt x="16" y="2712"/>
                </a:lnTo>
                <a:cubicBezTo>
                  <a:pt x="16" y="2717"/>
                  <a:pt x="13" y="2720"/>
                  <a:pt x="8" y="2720"/>
                </a:cubicBezTo>
                <a:cubicBezTo>
                  <a:pt x="4" y="2720"/>
                  <a:pt x="0" y="2717"/>
                  <a:pt x="0" y="2712"/>
                </a:cubicBezTo>
                <a:lnTo>
                  <a:pt x="0" y="2696"/>
                </a:lnTo>
                <a:cubicBezTo>
                  <a:pt x="0" y="2692"/>
                  <a:pt x="4" y="2688"/>
                  <a:pt x="8" y="2688"/>
                </a:cubicBezTo>
                <a:cubicBezTo>
                  <a:pt x="13" y="2688"/>
                  <a:pt x="16" y="2692"/>
                  <a:pt x="16" y="2696"/>
                </a:cubicBezTo>
                <a:close/>
                <a:moveTo>
                  <a:pt x="16" y="2744"/>
                </a:moveTo>
                <a:lnTo>
                  <a:pt x="16" y="2760"/>
                </a:lnTo>
                <a:cubicBezTo>
                  <a:pt x="16" y="2765"/>
                  <a:pt x="13" y="2768"/>
                  <a:pt x="8" y="2768"/>
                </a:cubicBezTo>
                <a:cubicBezTo>
                  <a:pt x="4" y="2768"/>
                  <a:pt x="0" y="2765"/>
                  <a:pt x="0" y="2760"/>
                </a:cubicBezTo>
                <a:lnTo>
                  <a:pt x="0" y="2744"/>
                </a:lnTo>
                <a:cubicBezTo>
                  <a:pt x="0" y="2740"/>
                  <a:pt x="4" y="2736"/>
                  <a:pt x="8" y="2736"/>
                </a:cubicBezTo>
                <a:cubicBezTo>
                  <a:pt x="13" y="2736"/>
                  <a:pt x="16" y="2740"/>
                  <a:pt x="16" y="2744"/>
                </a:cubicBezTo>
                <a:close/>
                <a:moveTo>
                  <a:pt x="16" y="2792"/>
                </a:moveTo>
                <a:lnTo>
                  <a:pt x="16" y="2808"/>
                </a:lnTo>
                <a:cubicBezTo>
                  <a:pt x="16" y="2813"/>
                  <a:pt x="13" y="2816"/>
                  <a:pt x="8" y="2816"/>
                </a:cubicBezTo>
                <a:cubicBezTo>
                  <a:pt x="4" y="2816"/>
                  <a:pt x="0" y="2813"/>
                  <a:pt x="0" y="2808"/>
                </a:cubicBezTo>
                <a:lnTo>
                  <a:pt x="0" y="2792"/>
                </a:lnTo>
                <a:cubicBezTo>
                  <a:pt x="0" y="2788"/>
                  <a:pt x="4" y="2784"/>
                  <a:pt x="8" y="2784"/>
                </a:cubicBezTo>
                <a:cubicBezTo>
                  <a:pt x="13" y="2784"/>
                  <a:pt x="16" y="2788"/>
                  <a:pt x="16" y="2792"/>
                </a:cubicBezTo>
                <a:close/>
                <a:moveTo>
                  <a:pt x="16" y="2840"/>
                </a:moveTo>
                <a:lnTo>
                  <a:pt x="16" y="2856"/>
                </a:lnTo>
                <a:cubicBezTo>
                  <a:pt x="16" y="2861"/>
                  <a:pt x="13" y="2864"/>
                  <a:pt x="8" y="2864"/>
                </a:cubicBezTo>
                <a:cubicBezTo>
                  <a:pt x="4" y="2864"/>
                  <a:pt x="0" y="2861"/>
                  <a:pt x="0" y="2856"/>
                </a:cubicBezTo>
                <a:lnTo>
                  <a:pt x="0" y="2840"/>
                </a:lnTo>
                <a:cubicBezTo>
                  <a:pt x="0" y="2836"/>
                  <a:pt x="4" y="2832"/>
                  <a:pt x="8" y="2832"/>
                </a:cubicBezTo>
                <a:cubicBezTo>
                  <a:pt x="13" y="2832"/>
                  <a:pt x="16" y="2836"/>
                  <a:pt x="16" y="2840"/>
                </a:cubicBezTo>
                <a:close/>
                <a:moveTo>
                  <a:pt x="16" y="2888"/>
                </a:moveTo>
                <a:lnTo>
                  <a:pt x="16" y="2904"/>
                </a:lnTo>
                <a:cubicBezTo>
                  <a:pt x="16" y="2909"/>
                  <a:pt x="13" y="2912"/>
                  <a:pt x="8" y="2912"/>
                </a:cubicBezTo>
                <a:cubicBezTo>
                  <a:pt x="4" y="2912"/>
                  <a:pt x="0" y="2909"/>
                  <a:pt x="0" y="2904"/>
                </a:cubicBezTo>
                <a:lnTo>
                  <a:pt x="0" y="2888"/>
                </a:lnTo>
                <a:cubicBezTo>
                  <a:pt x="0" y="2884"/>
                  <a:pt x="4" y="2880"/>
                  <a:pt x="8" y="2880"/>
                </a:cubicBezTo>
                <a:cubicBezTo>
                  <a:pt x="13" y="2880"/>
                  <a:pt x="16" y="2884"/>
                  <a:pt x="16" y="2888"/>
                </a:cubicBezTo>
                <a:close/>
                <a:moveTo>
                  <a:pt x="16" y="2936"/>
                </a:moveTo>
                <a:lnTo>
                  <a:pt x="16" y="2952"/>
                </a:lnTo>
                <a:cubicBezTo>
                  <a:pt x="16" y="2957"/>
                  <a:pt x="13" y="2960"/>
                  <a:pt x="8" y="2960"/>
                </a:cubicBezTo>
                <a:cubicBezTo>
                  <a:pt x="4" y="2960"/>
                  <a:pt x="0" y="2957"/>
                  <a:pt x="0" y="2952"/>
                </a:cubicBezTo>
                <a:lnTo>
                  <a:pt x="0" y="2936"/>
                </a:lnTo>
                <a:cubicBezTo>
                  <a:pt x="0" y="2932"/>
                  <a:pt x="4" y="2928"/>
                  <a:pt x="8" y="2928"/>
                </a:cubicBezTo>
                <a:cubicBezTo>
                  <a:pt x="13" y="2928"/>
                  <a:pt x="16" y="2932"/>
                  <a:pt x="16" y="2936"/>
                </a:cubicBezTo>
                <a:close/>
                <a:moveTo>
                  <a:pt x="16" y="2984"/>
                </a:moveTo>
                <a:lnTo>
                  <a:pt x="16" y="3000"/>
                </a:lnTo>
                <a:cubicBezTo>
                  <a:pt x="16" y="3005"/>
                  <a:pt x="13" y="3008"/>
                  <a:pt x="8" y="3008"/>
                </a:cubicBezTo>
                <a:cubicBezTo>
                  <a:pt x="4" y="3008"/>
                  <a:pt x="0" y="3005"/>
                  <a:pt x="0" y="3000"/>
                </a:cubicBezTo>
                <a:lnTo>
                  <a:pt x="0" y="2984"/>
                </a:lnTo>
                <a:cubicBezTo>
                  <a:pt x="0" y="2980"/>
                  <a:pt x="4" y="2976"/>
                  <a:pt x="8" y="2976"/>
                </a:cubicBezTo>
                <a:cubicBezTo>
                  <a:pt x="13" y="2976"/>
                  <a:pt x="16" y="2980"/>
                  <a:pt x="16" y="2984"/>
                </a:cubicBezTo>
                <a:close/>
                <a:moveTo>
                  <a:pt x="16" y="3032"/>
                </a:moveTo>
                <a:lnTo>
                  <a:pt x="16" y="3048"/>
                </a:lnTo>
                <a:cubicBezTo>
                  <a:pt x="16" y="3053"/>
                  <a:pt x="13" y="3056"/>
                  <a:pt x="8" y="3056"/>
                </a:cubicBezTo>
                <a:cubicBezTo>
                  <a:pt x="4" y="3056"/>
                  <a:pt x="0" y="3053"/>
                  <a:pt x="0" y="3048"/>
                </a:cubicBezTo>
                <a:lnTo>
                  <a:pt x="0" y="3032"/>
                </a:lnTo>
                <a:cubicBezTo>
                  <a:pt x="0" y="3028"/>
                  <a:pt x="4" y="3024"/>
                  <a:pt x="8" y="3024"/>
                </a:cubicBezTo>
                <a:cubicBezTo>
                  <a:pt x="13" y="3024"/>
                  <a:pt x="16" y="3028"/>
                  <a:pt x="16" y="3032"/>
                </a:cubicBezTo>
                <a:close/>
                <a:moveTo>
                  <a:pt x="16" y="3080"/>
                </a:moveTo>
                <a:lnTo>
                  <a:pt x="16" y="3096"/>
                </a:lnTo>
                <a:cubicBezTo>
                  <a:pt x="16" y="3101"/>
                  <a:pt x="13" y="3104"/>
                  <a:pt x="8" y="3104"/>
                </a:cubicBezTo>
                <a:cubicBezTo>
                  <a:pt x="4" y="3104"/>
                  <a:pt x="0" y="3101"/>
                  <a:pt x="0" y="3096"/>
                </a:cubicBezTo>
                <a:lnTo>
                  <a:pt x="0" y="3080"/>
                </a:lnTo>
                <a:cubicBezTo>
                  <a:pt x="0" y="3076"/>
                  <a:pt x="4" y="3072"/>
                  <a:pt x="8" y="3072"/>
                </a:cubicBezTo>
                <a:cubicBezTo>
                  <a:pt x="13" y="3072"/>
                  <a:pt x="16" y="3076"/>
                  <a:pt x="16" y="3080"/>
                </a:cubicBezTo>
                <a:close/>
                <a:moveTo>
                  <a:pt x="16" y="3128"/>
                </a:moveTo>
                <a:lnTo>
                  <a:pt x="16" y="3144"/>
                </a:lnTo>
                <a:cubicBezTo>
                  <a:pt x="16" y="3149"/>
                  <a:pt x="13" y="3152"/>
                  <a:pt x="8" y="3152"/>
                </a:cubicBezTo>
                <a:cubicBezTo>
                  <a:pt x="4" y="3152"/>
                  <a:pt x="0" y="3149"/>
                  <a:pt x="0" y="3144"/>
                </a:cubicBezTo>
                <a:lnTo>
                  <a:pt x="0" y="3128"/>
                </a:lnTo>
                <a:cubicBezTo>
                  <a:pt x="0" y="3124"/>
                  <a:pt x="4" y="3120"/>
                  <a:pt x="8" y="3120"/>
                </a:cubicBezTo>
                <a:cubicBezTo>
                  <a:pt x="13" y="3120"/>
                  <a:pt x="16" y="3124"/>
                  <a:pt x="16" y="3128"/>
                </a:cubicBezTo>
                <a:close/>
                <a:moveTo>
                  <a:pt x="16" y="3176"/>
                </a:moveTo>
                <a:lnTo>
                  <a:pt x="16" y="3192"/>
                </a:lnTo>
                <a:cubicBezTo>
                  <a:pt x="16" y="3197"/>
                  <a:pt x="13" y="3200"/>
                  <a:pt x="8" y="3200"/>
                </a:cubicBezTo>
                <a:cubicBezTo>
                  <a:pt x="4" y="3200"/>
                  <a:pt x="0" y="3197"/>
                  <a:pt x="0" y="3192"/>
                </a:cubicBezTo>
                <a:lnTo>
                  <a:pt x="0" y="3176"/>
                </a:lnTo>
                <a:cubicBezTo>
                  <a:pt x="0" y="3172"/>
                  <a:pt x="4" y="3168"/>
                  <a:pt x="8" y="3168"/>
                </a:cubicBezTo>
                <a:cubicBezTo>
                  <a:pt x="13" y="3168"/>
                  <a:pt x="16" y="3172"/>
                  <a:pt x="16" y="3176"/>
                </a:cubicBezTo>
                <a:close/>
                <a:moveTo>
                  <a:pt x="16" y="3224"/>
                </a:moveTo>
                <a:lnTo>
                  <a:pt x="16" y="3240"/>
                </a:lnTo>
                <a:cubicBezTo>
                  <a:pt x="16" y="3245"/>
                  <a:pt x="13" y="3248"/>
                  <a:pt x="8" y="3248"/>
                </a:cubicBezTo>
                <a:cubicBezTo>
                  <a:pt x="4" y="3248"/>
                  <a:pt x="0" y="3245"/>
                  <a:pt x="0" y="3240"/>
                </a:cubicBezTo>
                <a:lnTo>
                  <a:pt x="0" y="3224"/>
                </a:lnTo>
                <a:cubicBezTo>
                  <a:pt x="0" y="3220"/>
                  <a:pt x="4" y="3216"/>
                  <a:pt x="8" y="3216"/>
                </a:cubicBezTo>
                <a:cubicBezTo>
                  <a:pt x="13" y="3216"/>
                  <a:pt x="16" y="3220"/>
                  <a:pt x="16" y="3224"/>
                </a:cubicBezTo>
                <a:close/>
                <a:moveTo>
                  <a:pt x="16" y="3272"/>
                </a:moveTo>
                <a:lnTo>
                  <a:pt x="16" y="3288"/>
                </a:lnTo>
                <a:cubicBezTo>
                  <a:pt x="16" y="3293"/>
                  <a:pt x="13" y="3296"/>
                  <a:pt x="8" y="3296"/>
                </a:cubicBezTo>
                <a:cubicBezTo>
                  <a:pt x="4" y="3296"/>
                  <a:pt x="0" y="3293"/>
                  <a:pt x="0" y="3288"/>
                </a:cubicBezTo>
                <a:lnTo>
                  <a:pt x="0" y="3272"/>
                </a:lnTo>
                <a:cubicBezTo>
                  <a:pt x="0" y="3268"/>
                  <a:pt x="4" y="3264"/>
                  <a:pt x="8" y="3264"/>
                </a:cubicBezTo>
                <a:cubicBezTo>
                  <a:pt x="13" y="3264"/>
                  <a:pt x="16" y="3268"/>
                  <a:pt x="16" y="3272"/>
                </a:cubicBezTo>
                <a:close/>
              </a:path>
            </a:pathLst>
          </a:custGeom>
          <a:solidFill>
            <a:srgbClr val="7F7F7F"/>
          </a:solidFill>
          <a:ln w="1588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8A829EC3-65AB-4095-BFC5-D475E7F9478C}"/>
              </a:ext>
            </a:extLst>
          </p:cNvPr>
          <p:cNvSpPr>
            <a:spLocks noEditPoints="1"/>
          </p:cNvSpPr>
          <p:nvPr/>
        </p:nvSpPr>
        <p:spPr bwMode="auto">
          <a:xfrm>
            <a:off x="7921625" y="2419350"/>
            <a:ext cx="14288" cy="2201863"/>
          </a:xfrm>
          <a:custGeom>
            <a:avLst/>
            <a:gdLst>
              <a:gd name="T0" fmla="*/ 15 w 15"/>
              <a:gd name="T1" fmla="*/ 115 h 2238"/>
              <a:gd name="T2" fmla="*/ 0 w 15"/>
              <a:gd name="T3" fmla="*/ 115 h 2238"/>
              <a:gd name="T4" fmla="*/ 8 w 15"/>
              <a:gd name="T5" fmla="*/ 0 h 2238"/>
              <a:gd name="T6" fmla="*/ 15 w 15"/>
              <a:gd name="T7" fmla="*/ 192 h 2238"/>
              <a:gd name="T8" fmla="*/ 8 w 15"/>
              <a:gd name="T9" fmla="*/ 307 h 2238"/>
              <a:gd name="T10" fmla="*/ 0 w 15"/>
              <a:gd name="T11" fmla="*/ 192 h 2238"/>
              <a:gd name="T12" fmla="*/ 15 w 15"/>
              <a:gd name="T13" fmla="*/ 192 h 2238"/>
              <a:gd name="T14" fmla="*/ 15 w 15"/>
              <a:gd name="T15" fmla="*/ 484 h 2238"/>
              <a:gd name="T16" fmla="*/ 0 w 15"/>
              <a:gd name="T17" fmla="*/ 484 h 2238"/>
              <a:gd name="T18" fmla="*/ 8 w 15"/>
              <a:gd name="T19" fmla="*/ 368 h 2238"/>
              <a:gd name="T20" fmla="*/ 15 w 15"/>
              <a:gd name="T21" fmla="*/ 560 h 2238"/>
              <a:gd name="T22" fmla="*/ 8 w 15"/>
              <a:gd name="T23" fmla="*/ 676 h 2238"/>
              <a:gd name="T24" fmla="*/ 0 w 15"/>
              <a:gd name="T25" fmla="*/ 560 h 2238"/>
              <a:gd name="T26" fmla="*/ 15 w 15"/>
              <a:gd name="T27" fmla="*/ 560 h 2238"/>
              <a:gd name="T28" fmla="*/ 15 w 15"/>
              <a:gd name="T29" fmla="*/ 852 h 2238"/>
              <a:gd name="T30" fmla="*/ 0 w 15"/>
              <a:gd name="T31" fmla="*/ 852 h 2238"/>
              <a:gd name="T32" fmla="*/ 8 w 15"/>
              <a:gd name="T33" fmla="*/ 737 h 2238"/>
              <a:gd name="T34" fmla="*/ 15 w 15"/>
              <a:gd name="T35" fmla="*/ 929 h 2238"/>
              <a:gd name="T36" fmla="*/ 8 w 15"/>
              <a:gd name="T37" fmla="*/ 1044 h 2238"/>
              <a:gd name="T38" fmla="*/ 0 w 15"/>
              <a:gd name="T39" fmla="*/ 929 h 2238"/>
              <a:gd name="T40" fmla="*/ 15 w 15"/>
              <a:gd name="T41" fmla="*/ 929 h 2238"/>
              <a:gd name="T42" fmla="*/ 15 w 15"/>
              <a:gd name="T43" fmla="*/ 1221 h 2238"/>
              <a:gd name="T44" fmla="*/ 0 w 15"/>
              <a:gd name="T45" fmla="*/ 1221 h 2238"/>
              <a:gd name="T46" fmla="*/ 8 w 15"/>
              <a:gd name="T47" fmla="*/ 1106 h 2238"/>
              <a:gd name="T48" fmla="*/ 15 w 15"/>
              <a:gd name="T49" fmla="*/ 1298 h 2238"/>
              <a:gd name="T50" fmla="*/ 8 w 15"/>
              <a:gd name="T51" fmla="*/ 1413 h 2238"/>
              <a:gd name="T52" fmla="*/ 0 w 15"/>
              <a:gd name="T53" fmla="*/ 1298 h 2238"/>
              <a:gd name="T54" fmla="*/ 15 w 15"/>
              <a:gd name="T55" fmla="*/ 1298 h 2238"/>
              <a:gd name="T56" fmla="*/ 15 w 15"/>
              <a:gd name="T57" fmla="*/ 1590 h 2238"/>
              <a:gd name="T58" fmla="*/ 0 w 15"/>
              <a:gd name="T59" fmla="*/ 1590 h 2238"/>
              <a:gd name="T60" fmla="*/ 8 w 15"/>
              <a:gd name="T61" fmla="*/ 1474 h 2238"/>
              <a:gd name="T62" fmla="*/ 15 w 15"/>
              <a:gd name="T63" fmla="*/ 1666 h 2238"/>
              <a:gd name="T64" fmla="*/ 8 w 15"/>
              <a:gd name="T65" fmla="*/ 1782 h 2238"/>
              <a:gd name="T66" fmla="*/ 0 w 15"/>
              <a:gd name="T67" fmla="*/ 1666 h 2238"/>
              <a:gd name="T68" fmla="*/ 15 w 15"/>
              <a:gd name="T69" fmla="*/ 1666 h 2238"/>
              <a:gd name="T70" fmla="*/ 15 w 15"/>
              <a:gd name="T71" fmla="*/ 1958 h 2238"/>
              <a:gd name="T72" fmla="*/ 0 w 15"/>
              <a:gd name="T73" fmla="*/ 1958 h 2238"/>
              <a:gd name="T74" fmla="*/ 8 w 15"/>
              <a:gd name="T75" fmla="*/ 1843 h 2238"/>
              <a:gd name="T76" fmla="*/ 15 w 15"/>
              <a:gd name="T77" fmla="*/ 2035 h 2238"/>
              <a:gd name="T78" fmla="*/ 8 w 15"/>
              <a:gd name="T79" fmla="*/ 2150 h 2238"/>
              <a:gd name="T80" fmla="*/ 0 w 15"/>
              <a:gd name="T81" fmla="*/ 2035 h 2238"/>
              <a:gd name="T82" fmla="*/ 15 w 15"/>
              <a:gd name="T83" fmla="*/ 2035 h 2238"/>
              <a:gd name="T84" fmla="*/ 15 w 15"/>
              <a:gd name="T85" fmla="*/ 2231 h 2238"/>
              <a:gd name="T86" fmla="*/ 0 w 15"/>
              <a:gd name="T87" fmla="*/ 2231 h 2238"/>
              <a:gd name="T88" fmla="*/ 8 w 15"/>
              <a:gd name="T89" fmla="*/ 2212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5" h="2238">
                <a:moveTo>
                  <a:pt x="15" y="7"/>
                </a:moveTo>
                <a:lnTo>
                  <a:pt x="15" y="115"/>
                </a:lnTo>
                <a:cubicBezTo>
                  <a:pt x="15" y="119"/>
                  <a:pt x="12" y="123"/>
                  <a:pt x="8" y="123"/>
                </a:cubicBezTo>
                <a:cubicBezTo>
                  <a:pt x="3" y="123"/>
                  <a:pt x="0" y="119"/>
                  <a:pt x="0" y="115"/>
                </a:cubicBezTo>
                <a:lnTo>
                  <a:pt x="0" y="7"/>
                </a:lnTo>
                <a:cubicBezTo>
                  <a:pt x="0" y="3"/>
                  <a:pt x="3" y="0"/>
                  <a:pt x="8" y="0"/>
                </a:cubicBezTo>
                <a:cubicBezTo>
                  <a:pt x="12" y="0"/>
                  <a:pt x="15" y="3"/>
                  <a:pt x="15" y="7"/>
                </a:cubicBezTo>
                <a:close/>
                <a:moveTo>
                  <a:pt x="15" y="192"/>
                </a:moveTo>
                <a:lnTo>
                  <a:pt x="15" y="299"/>
                </a:lnTo>
                <a:cubicBezTo>
                  <a:pt x="15" y="304"/>
                  <a:pt x="12" y="307"/>
                  <a:pt x="8" y="307"/>
                </a:cubicBezTo>
                <a:cubicBezTo>
                  <a:pt x="3" y="307"/>
                  <a:pt x="0" y="304"/>
                  <a:pt x="0" y="299"/>
                </a:cubicBezTo>
                <a:lnTo>
                  <a:pt x="0" y="192"/>
                </a:lnTo>
                <a:cubicBezTo>
                  <a:pt x="0" y="188"/>
                  <a:pt x="3" y="184"/>
                  <a:pt x="8" y="184"/>
                </a:cubicBezTo>
                <a:cubicBezTo>
                  <a:pt x="12" y="184"/>
                  <a:pt x="15" y="188"/>
                  <a:pt x="15" y="192"/>
                </a:cubicBezTo>
                <a:close/>
                <a:moveTo>
                  <a:pt x="15" y="376"/>
                </a:moveTo>
                <a:lnTo>
                  <a:pt x="15" y="484"/>
                </a:lnTo>
                <a:cubicBezTo>
                  <a:pt x="15" y="488"/>
                  <a:pt x="12" y="491"/>
                  <a:pt x="8" y="491"/>
                </a:cubicBezTo>
                <a:cubicBezTo>
                  <a:pt x="3" y="491"/>
                  <a:pt x="0" y="488"/>
                  <a:pt x="0" y="484"/>
                </a:cubicBezTo>
                <a:lnTo>
                  <a:pt x="0" y="376"/>
                </a:lnTo>
                <a:cubicBezTo>
                  <a:pt x="0" y="372"/>
                  <a:pt x="3" y="368"/>
                  <a:pt x="8" y="368"/>
                </a:cubicBezTo>
                <a:cubicBezTo>
                  <a:pt x="12" y="368"/>
                  <a:pt x="15" y="372"/>
                  <a:pt x="15" y="376"/>
                </a:cubicBezTo>
                <a:close/>
                <a:moveTo>
                  <a:pt x="15" y="560"/>
                </a:moveTo>
                <a:lnTo>
                  <a:pt x="15" y="668"/>
                </a:lnTo>
                <a:cubicBezTo>
                  <a:pt x="15" y="672"/>
                  <a:pt x="12" y="676"/>
                  <a:pt x="8" y="676"/>
                </a:cubicBezTo>
                <a:cubicBezTo>
                  <a:pt x="3" y="676"/>
                  <a:pt x="0" y="672"/>
                  <a:pt x="0" y="668"/>
                </a:cubicBezTo>
                <a:lnTo>
                  <a:pt x="0" y="560"/>
                </a:lnTo>
                <a:cubicBezTo>
                  <a:pt x="0" y="556"/>
                  <a:pt x="3" y="553"/>
                  <a:pt x="8" y="553"/>
                </a:cubicBezTo>
                <a:cubicBezTo>
                  <a:pt x="12" y="553"/>
                  <a:pt x="15" y="556"/>
                  <a:pt x="15" y="560"/>
                </a:cubicBezTo>
                <a:close/>
                <a:moveTo>
                  <a:pt x="15" y="745"/>
                </a:moveTo>
                <a:lnTo>
                  <a:pt x="15" y="852"/>
                </a:lnTo>
                <a:cubicBezTo>
                  <a:pt x="15" y="857"/>
                  <a:pt x="12" y="860"/>
                  <a:pt x="8" y="860"/>
                </a:cubicBezTo>
                <a:cubicBezTo>
                  <a:pt x="3" y="860"/>
                  <a:pt x="0" y="857"/>
                  <a:pt x="0" y="852"/>
                </a:cubicBezTo>
                <a:lnTo>
                  <a:pt x="0" y="745"/>
                </a:lnTo>
                <a:cubicBezTo>
                  <a:pt x="0" y="741"/>
                  <a:pt x="3" y="737"/>
                  <a:pt x="8" y="737"/>
                </a:cubicBezTo>
                <a:cubicBezTo>
                  <a:pt x="12" y="737"/>
                  <a:pt x="15" y="741"/>
                  <a:pt x="15" y="745"/>
                </a:cubicBezTo>
                <a:close/>
                <a:moveTo>
                  <a:pt x="15" y="929"/>
                </a:moveTo>
                <a:lnTo>
                  <a:pt x="15" y="1037"/>
                </a:lnTo>
                <a:cubicBezTo>
                  <a:pt x="15" y="1041"/>
                  <a:pt x="12" y="1044"/>
                  <a:pt x="8" y="1044"/>
                </a:cubicBezTo>
                <a:cubicBezTo>
                  <a:pt x="3" y="1044"/>
                  <a:pt x="0" y="1041"/>
                  <a:pt x="0" y="1037"/>
                </a:cubicBezTo>
                <a:lnTo>
                  <a:pt x="0" y="929"/>
                </a:lnTo>
                <a:cubicBezTo>
                  <a:pt x="0" y="925"/>
                  <a:pt x="3" y="921"/>
                  <a:pt x="8" y="921"/>
                </a:cubicBezTo>
                <a:cubicBezTo>
                  <a:pt x="12" y="921"/>
                  <a:pt x="15" y="925"/>
                  <a:pt x="15" y="929"/>
                </a:cubicBezTo>
                <a:close/>
                <a:moveTo>
                  <a:pt x="15" y="1113"/>
                </a:moveTo>
                <a:lnTo>
                  <a:pt x="15" y="1221"/>
                </a:lnTo>
                <a:cubicBezTo>
                  <a:pt x="15" y="1225"/>
                  <a:pt x="12" y="1229"/>
                  <a:pt x="8" y="1229"/>
                </a:cubicBezTo>
                <a:cubicBezTo>
                  <a:pt x="3" y="1229"/>
                  <a:pt x="0" y="1225"/>
                  <a:pt x="0" y="1221"/>
                </a:cubicBezTo>
                <a:lnTo>
                  <a:pt x="0" y="1113"/>
                </a:lnTo>
                <a:cubicBezTo>
                  <a:pt x="0" y="1109"/>
                  <a:pt x="3" y="1106"/>
                  <a:pt x="8" y="1106"/>
                </a:cubicBezTo>
                <a:cubicBezTo>
                  <a:pt x="12" y="1106"/>
                  <a:pt x="15" y="1109"/>
                  <a:pt x="15" y="1113"/>
                </a:cubicBezTo>
                <a:close/>
                <a:moveTo>
                  <a:pt x="15" y="1298"/>
                </a:moveTo>
                <a:lnTo>
                  <a:pt x="15" y="1405"/>
                </a:lnTo>
                <a:cubicBezTo>
                  <a:pt x="15" y="1409"/>
                  <a:pt x="12" y="1413"/>
                  <a:pt x="8" y="1413"/>
                </a:cubicBezTo>
                <a:cubicBezTo>
                  <a:pt x="3" y="1413"/>
                  <a:pt x="0" y="1409"/>
                  <a:pt x="0" y="1405"/>
                </a:cubicBezTo>
                <a:lnTo>
                  <a:pt x="0" y="1298"/>
                </a:lnTo>
                <a:cubicBezTo>
                  <a:pt x="0" y="1293"/>
                  <a:pt x="3" y="1290"/>
                  <a:pt x="8" y="1290"/>
                </a:cubicBezTo>
                <a:cubicBezTo>
                  <a:pt x="12" y="1290"/>
                  <a:pt x="15" y="1293"/>
                  <a:pt x="15" y="1298"/>
                </a:cubicBezTo>
                <a:close/>
                <a:moveTo>
                  <a:pt x="15" y="1482"/>
                </a:moveTo>
                <a:lnTo>
                  <a:pt x="15" y="1590"/>
                </a:lnTo>
                <a:cubicBezTo>
                  <a:pt x="15" y="1594"/>
                  <a:pt x="12" y="1597"/>
                  <a:pt x="8" y="1597"/>
                </a:cubicBezTo>
                <a:cubicBezTo>
                  <a:pt x="3" y="1597"/>
                  <a:pt x="0" y="1594"/>
                  <a:pt x="0" y="1590"/>
                </a:cubicBezTo>
                <a:lnTo>
                  <a:pt x="0" y="1482"/>
                </a:lnTo>
                <a:cubicBezTo>
                  <a:pt x="0" y="1478"/>
                  <a:pt x="3" y="1474"/>
                  <a:pt x="8" y="1474"/>
                </a:cubicBezTo>
                <a:cubicBezTo>
                  <a:pt x="12" y="1474"/>
                  <a:pt x="15" y="1478"/>
                  <a:pt x="15" y="1482"/>
                </a:cubicBezTo>
                <a:close/>
                <a:moveTo>
                  <a:pt x="15" y="1666"/>
                </a:moveTo>
                <a:lnTo>
                  <a:pt x="15" y="1774"/>
                </a:lnTo>
                <a:cubicBezTo>
                  <a:pt x="15" y="1778"/>
                  <a:pt x="12" y="1782"/>
                  <a:pt x="8" y="1782"/>
                </a:cubicBezTo>
                <a:cubicBezTo>
                  <a:pt x="3" y="1782"/>
                  <a:pt x="0" y="1778"/>
                  <a:pt x="0" y="1774"/>
                </a:cubicBezTo>
                <a:lnTo>
                  <a:pt x="0" y="1666"/>
                </a:lnTo>
                <a:cubicBezTo>
                  <a:pt x="0" y="1662"/>
                  <a:pt x="3" y="1659"/>
                  <a:pt x="8" y="1659"/>
                </a:cubicBezTo>
                <a:cubicBezTo>
                  <a:pt x="12" y="1659"/>
                  <a:pt x="15" y="1662"/>
                  <a:pt x="15" y="1666"/>
                </a:cubicBezTo>
                <a:close/>
                <a:moveTo>
                  <a:pt x="15" y="1851"/>
                </a:moveTo>
                <a:lnTo>
                  <a:pt x="15" y="1958"/>
                </a:lnTo>
                <a:cubicBezTo>
                  <a:pt x="15" y="1962"/>
                  <a:pt x="12" y="1966"/>
                  <a:pt x="8" y="1966"/>
                </a:cubicBezTo>
                <a:cubicBezTo>
                  <a:pt x="3" y="1966"/>
                  <a:pt x="0" y="1962"/>
                  <a:pt x="0" y="1958"/>
                </a:cubicBezTo>
                <a:lnTo>
                  <a:pt x="0" y="1851"/>
                </a:lnTo>
                <a:cubicBezTo>
                  <a:pt x="0" y="1846"/>
                  <a:pt x="3" y="1843"/>
                  <a:pt x="8" y="1843"/>
                </a:cubicBezTo>
                <a:cubicBezTo>
                  <a:pt x="12" y="1843"/>
                  <a:pt x="15" y="1846"/>
                  <a:pt x="15" y="1851"/>
                </a:cubicBezTo>
                <a:close/>
                <a:moveTo>
                  <a:pt x="15" y="2035"/>
                </a:moveTo>
                <a:lnTo>
                  <a:pt x="15" y="2143"/>
                </a:lnTo>
                <a:cubicBezTo>
                  <a:pt x="15" y="2147"/>
                  <a:pt x="12" y="2150"/>
                  <a:pt x="8" y="2150"/>
                </a:cubicBezTo>
                <a:cubicBezTo>
                  <a:pt x="3" y="2150"/>
                  <a:pt x="0" y="2147"/>
                  <a:pt x="0" y="2143"/>
                </a:cubicBezTo>
                <a:lnTo>
                  <a:pt x="0" y="2035"/>
                </a:lnTo>
                <a:cubicBezTo>
                  <a:pt x="0" y="2031"/>
                  <a:pt x="3" y="2027"/>
                  <a:pt x="8" y="2027"/>
                </a:cubicBezTo>
                <a:cubicBezTo>
                  <a:pt x="12" y="2027"/>
                  <a:pt x="15" y="2031"/>
                  <a:pt x="15" y="2035"/>
                </a:cubicBezTo>
                <a:close/>
                <a:moveTo>
                  <a:pt x="15" y="2219"/>
                </a:moveTo>
                <a:lnTo>
                  <a:pt x="15" y="2231"/>
                </a:lnTo>
                <a:cubicBezTo>
                  <a:pt x="15" y="2235"/>
                  <a:pt x="12" y="2238"/>
                  <a:pt x="8" y="2238"/>
                </a:cubicBezTo>
                <a:cubicBezTo>
                  <a:pt x="3" y="2238"/>
                  <a:pt x="0" y="2235"/>
                  <a:pt x="0" y="2231"/>
                </a:cubicBezTo>
                <a:lnTo>
                  <a:pt x="0" y="2219"/>
                </a:lnTo>
                <a:cubicBezTo>
                  <a:pt x="0" y="2215"/>
                  <a:pt x="3" y="2212"/>
                  <a:pt x="8" y="2212"/>
                </a:cubicBezTo>
                <a:cubicBezTo>
                  <a:pt x="12" y="2212"/>
                  <a:pt x="15" y="2215"/>
                  <a:pt x="15" y="2219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F5AEEB-B685-4122-ACDE-3C9B6B190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3830638"/>
            <a:ext cx="582613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0080"/>
                </a:solidFill>
                <a:effectLst/>
                <a:latin typeface="Arial" panose="020B0604020202020204" pitchFamily="34" charset="0"/>
              </a:rPr>
              <a:t>Jacob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8D1BCAED-8E1C-4D30-86B2-1B6D2B16DE01}"/>
              </a:ext>
            </a:extLst>
          </p:cNvPr>
          <p:cNvSpPr>
            <a:spLocks noEditPoints="1"/>
          </p:cNvSpPr>
          <p:nvPr/>
        </p:nvSpPr>
        <p:spPr bwMode="auto">
          <a:xfrm>
            <a:off x="8223250" y="3198813"/>
            <a:ext cx="15875" cy="1752600"/>
          </a:xfrm>
          <a:custGeom>
            <a:avLst/>
            <a:gdLst>
              <a:gd name="T0" fmla="*/ 16 w 16"/>
              <a:gd name="T1" fmla="*/ 115 h 1782"/>
              <a:gd name="T2" fmla="*/ 0 w 16"/>
              <a:gd name="T3" fmla="*/ 115 h 1782"/>
              <a:gd name="T4" fmla="*/ 8 w 16"/>
              <a:gd name="T5" fmla="*/ 0 h 1782"/>
              <a:gd name="T6" fmla="*/ 16 w 16"/>
              <a:gd name="T7" fmla="*/ 192 h 1782"/>
              <a:gd name="T8" fmla="*/ 8 w 16"/>
              <a:gd name="T9" fmla="*/ 307 h 1782"/>
              <a:gd name="T10" fmla="*/ 0 w 16"/>
              <a:gd name="T11" fmla="*/ 192 h 1782"/>
              <a:gd name="T12" fmla="*/ 16 w 16"/>
              <a:gd name="T13" fmla="*/ 192 h 1782"/>
              <a:gd name="T14" fmla="*/ 16 w 16"/>
              <a:gd name="T15" fmla="*/ 484 h 1782"/>
              <a:gd name="T16" fmla="*/ 0 w 16"/>
              <a:gd name="T17" fmla="*/ 484 h 1782"/>
              <a:gd name="T18" fmla="*/ 8 w 16"/>
              <a:gd name="T19" fmla="*/ 369 h 1782"/>
              <a:gd name="T20" fmla="*/ 16 w 16"/>
              <a:gd name="T21" fmla="*/ 561 h 1782"/>
              <a:gd name="T22" fmla="*/ 8 w 16"/>
              <a:gd name="T23" fmla="*/ 676 h 1782"/>
              <a:gd name="T24" fmla="*/ 0 w 16"/>
              <a:gd name="T25" fmla="*/ 561 h 1782"/>
              <a:gd name="T26" fmla="*/ 16 w 16"/>
              <a:gd name="T27" fmla="*/ 561 h 1782"/>
              <a:gd name="T28" fmla="*/ 16 w 16"/>
              <a:gd name="T29" fmla="*/ 852 h 1782"/>
              <a:gd name="T30" fmla="*/ 0 w 16"/>
              <a:gd name="T31" fmla="*/ 852 h 1782"/>
              <a:gd name="T32" fmla="*/ 8 w 16"/>
              <a:gd name="T33" fmla="*/ 737 h 1782"/>
              <a:gd name="T34" fmla="*/ 16 w 16"/>
              <a:gd name="T35" fmla="*/ 929 h 1782"/>
              <a:gd name="T36" fmla="*/ 8 w 16"/>
              <a:gd name="T37" fmla="*/ 1044 h 1782"/>
              <a:gd name="T38" fmla="*/ 0 w 16"/>
              <a:gd name="T39" fmla="*/ 929 h 1782"/>
              <a:gd name="T40" fmla="*/ 16 w 16"/>
              <a:gd name="T41" fmla="*/ 929 h 1782"/>
              <a:gd name="T42" fmla="*/ 16 w 16"/>
              <a:gd name="T43" fmla="*/ 1221 h 1782"/>
              <a:gd name="T44" fmla="*/ 0 w 16"/>
              <a:gd name="T45" fmla="*/ 1221 h 1782"/>
              <a:gd name="T46" fmla="*/ 8 w 16"/>
              <a:gd name="T47" fmla="*/ 1106 h 1782"/>
              <a:gd name="T48" fmla="*/ 16 w 16"/>
              <a:gd name="T49" fmla="*/ 1298 h 1782"/>
              <a:gd name="T50" fmla="*/ 8 w 16"/>
              <a:gd name="T51" fmla="*/ 1413 h 1782"/>
              <a:gd name="T52" fmla="*/ 0 w 16"/>
              <a:gd name="T53" fmla="*/ 1298 h 1782"/>
              <a:gd name="T54" fmla="*/ 16 w 16"/>
              <a:gd name="T55" fmla="*/ 1298 h 1782"/>
              <a:gd name="T56" fmla="*/ 16 w 16"/>
              <a:gd name="T57" fmla="*/ 1590 h 1782"/>
              <a:gd name="T58" fmla="*/ 0 w 16"/>
              <a:gd name="T59" fmla="*/ 1590 h 1782"/>
              <a:gd name="T60" fmla="*/ 8 w 16"/>
              <a:gd name="T61" fmla="*/ 1474 h 1782"/>
              <a:gd name="T62" fmla="*/ 16 w 16"/>
              <a:gd name="T63" fmla="*/ 1666 h 1782"/>
              <a:gd name="T64" fmla="*/ 8 w 16"/>
              <a:gd name="T65" fmla="*/ 1782 h 1782"/>
              <a:gd name="T66" fmla="*/ 0 w 16"/>
              <a:gd name="T67" fmla="*/ 1666 h 1782"/>
              <a:gd name="T68" fmla="*/ 16 w 16"/>
              <a:gd name="T69" fmla="*/ 1666 h 17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" h="1782">
                <a:moveTo>
                  <a:pt x="16" y="8"/>
                </a:moveTo>
                <a:lnTo>
                  <a:pt x="16" y="115"/>
                </a:lnTo>
                <a:cubicBezTo>
                  <a:pt x="16" y="119"/>
                  <a:pt x="12" y="123"/>
                  <a:pt x="8" y="123"/>
                </a:cubicBezTo>
                <a:cubicBezTo>
                  <a:pt x="4" y="123"/>
                  <a:pt x="0" y="119"/>
                  <a:pt x="0" y="115"/>
                </a:cubicBezTo>
                <a:lnTo>
                  <a:pt x="0" y="8"/>
                </a:lnTo>
                <a:cubicBezTo>
                  <a:pt x="0" y="3"/>
                  <a:pt x="4" y="0"/>
                  <a:pt x="8" y="0"/>
                </a:cubicBezTo>
                <a:cubicBezTo>
                  <a:pt x="12" y="0"/>
                  <a:pt x="16" y="3"/>
                  <a:pt x="16" y="8"/>
                </a:cubicBezTo>
                <a:close/>
                <a:moveTo>
                  <a:pt x="16" y="192"/>
                </a:moveTo>
                <a:lnTo>
                  <a:pt x="16" y="299"/>
                </a:lnTo>
                <a:cubicBezTo>
                  <a:pt x="16" y="304"/>
                  <a:pt x="12" y="307"/>
                  <a:pt x="8" y="307"/>
                </a:cubicBezTo>
                <a:cubicBezTo>
                  <a:pt x="4" y="307"/>
                  <a:pt x="0" y="304"/>
                  <a:pt x="0" y="299"/>
                </a:cubicBezTo>
                <a:lnTo>
                  <a:pt x="0" y="192"/>
                </a:lnTo>
                <a:cubicBezTo>
                  <a:pt x="0" y="188"/>
                  <a:pt x="4" y="184"/>
                  <a:pt x="8" y="184"/>
                </a:cubicBezTo>
                <a:cubicBezTo>
                  <a:pt x="12" y="184"/>
                  <a:pt x="16" y="188"/>
                  <a:pt x="16" y="192"/>
                </a:cubicBezTo>
                <a:close/>
                <a:moveTo>
                  <a:pt x="16" y="376"/>
                </a:moveTo>
                <a:lnTo>
                  <a:pt x="16" y="484"/>
                </a:lnTo>
                <a:cubicBezTo>
                  <a:pt x="16" y="488"/>
                  <a:pt x="12" y="491"/>
                  <a:pt x="8" y="491"/>
                </a:cubicBezTo>
                <a:cubicBezTo>
                  <a:pt x="4" y="491"/>
                  <a:pt x="0" y="488"/>
                  <a:pt x="0" y="484"/>
                </a:cubicBezTo>
                <a:lnTo>
                  <a:pt x="0" y="376"/>
                </a:lnTo>
                <a:cubicBezTo>
                  <a:pt x="0" y="372"/>
                  <a:pt x="4" y="369"/>
                  <a:pt x="8" y="369"/>
                </a:cubicBezTo>
                <a:cubicBezTo>
                  <a:pt x="12" y="369"/>
                  <a:pt x="16" y="372"/>
                  <a:pt x="16" y="376"/>
                </a:cubicBezTo>
                <a:close/>
                <a:moveTo>
                  <a:pt x="16" y="561"/>
                </a:moveTo>
                <a:lnTo>
                  <a:pt x="16" y="668"/>
                </a:lnTo>
                <a:cubicBezTo>
                  <a:pt x="16" y="672"/>
                  <a:pt x="12" y="676"/>
                  <a:pt x="8" y="676"/>
                </a:cubicBezTo>
                <a:cubicBezTo>
                  <a:pt x="4" y="676"/>
                  <a:pt x="0" y="672"/>
                  <a:pt x="0" y="668"/>
                </a:cubicBezTo>
                <a:lnTo>
                  <a:pt x="0" y="561"/>
                </a:lnTo>
                <a:cubicBezTo>
                  <a:pt x="0" y="556"/>
                  <a:pt x="4" y="553"/>
                  <a:pt x="8" y="553"/>
                </a:cubicBezTo>
                <a:cubicBezTo>
                  <a:pt x="12" y="553"/>
                  <a:pt x="16" y="556"/>
                  <a:pt x="16" y="561"/>
                </a:cubicBezTo>
                <a:close/>
                <a:moveTo>
                  <a:pt x="16" y="745"/>
                </a:moveTo>
                <a:lnTo>
                  <a:pt x="16" y="852"/>
                </a:lnTo>
                <a:cubicBezTo>
                  <a:pt x="16" y="857"/>
                  <a:pt x="12" y="860"/>
                  <a:pt x="8" y="860"/>
                </a:cubicBezTo>
                <a:cubicBezTo>
                  <a:pt x="4" y="860"/>
                  <a:pt x="0" y="857"/>
                  <a:pt x="0" y="852"/>
                </a:cubicBezTo>
                <a:lnTo>
                  <a:pt x="0" y="745"/>
                </a:lnTo>
                <a:cubicBezTo>
                  <a:pt x="0" y="741"/>
                  <a:pt x="4" y="737"/>
                  <a:pt x="8" y="737"/>
                </a:cubicBezTo>
                <a:cubicBezTo>
                  <a:pt x="12" y="737"/>
                  <a:pt x="16" y="741"/>
                  <a:pt x="16" y="745"/>
                </a:cubicBezTo>
                <a:close/>
                <a:moveTo>
                  <a:pt x="16" y="929"/>
                </a:moveTo>
                <a:lnTo>
                  <a:pt x="16" y="1037"/>
                </a:lnTo>
                <a:cubicBezTo>
                  <a:pt x="16" y="1041"/>
                  <a:pt x="12" y="1044"/>
                  <a:pt x="8" y="1044"/>
                </a:cubicBezTo>
                <a:cubicBezTo>
                  <a:pt x="4" y="1044"/>
                  <a:pt x="0" y="1041"/>
                  <a:pt x="0" y="1037"/>
                </a:cubicBezTo>
                <a:lnTo>
                  <a:pt x="0" y="929"/>
                </a:lnTo>
                <a:cubicBezTo>
                  <a:pt x="0" y="925"/>
                  <a:pt x="4" y="922"/>
                  <a:pt x="8" y="922"/>
                </a:cubicBezTo>
                <a:cubicBezTo>
                  <a:pt x="12" y="922"/>
                  <a:pt x="16" y="925"/>
                  <a:pt x="16" y="929"/>
                </a:cubicBezTo>
                <a:close/>
                <a:moveTo>
                  <a:pt x="16" y="1114"/>
                </a:moveTo>
                <a:lnTo>
                  <a:pt x="16" y="1221"/>
                </a:lnTo>
                <a:cubicBezTo>
                  <a:pt x="16" y="1225"/>
                  <a:pt x="12" y="1229"/>
                  <a:pt x="8" y="1229"/>
                </a:cubicBezTo>
                <a:cubicBezTo>
                  <a:pt x="4" y="1229"/>
                  <a:pt x="0" y="1225"/>
                  <a:pt x="0" y="1221"/>
                </a:cubicBezTo>
                <a:lnTo>
                  <a:pt x="0" y="1114"/>
                </a:lnTo>
                <a:cubicBezTo>
                  <a:pt x="0" y="1109"/>
                  <a:pt x="4" y="1106"/>
                  <a:pt x="8" y="1106"/>
                </a:cubicBezTo>
                <a:cubicBezTo>
                  <a:pt x="12" y="1106"/>
                  <a:pt x="16" y="1109"/>
                  <a:pt x="16" y="1114"/>
                </a:cubicBezTo>
                <a:close/>
                <a:moveTo>
                  <a:pt x="16" y="1298"/>
                </a:moveTo>
                <a:lnTo>
                  <a:pt x="16" y="1405"/>
                </a:lnTo>
                <a:cubicBezTo>
                  <a:pt x="16" y="1410"/>
                  <a:pt x="12" y="1413"/>
                  <a:pt x="8" y="1413"/>
                </a:cubicBezTo>
                <a:cubicBezTo>
                  <a:pt x="4" y="1413"/>
                  <a:pt x="0" y="1410"/>
                  <a:pt x="0" y="1405"/>
                </a:cubicBezTo>
                <a:lnTo>
                  <a:pt x="0" y="1298"/>
                </a:lnTo>
                <a:cubicBezTo>
                  <a:pt x="0" y="1294"/>
                  <a:pt x="4" y="1290"/>
                  <a:pt x="8" y="1290"/>
                </a:cubicBezTo>
                <a:cubicBezTo>
                  <a:pt x="12" y="1290"/>
                  <a:pt x="16" y="1294"/>
                  <a:pt x="16" y="1298"/>
                </a:cubicBezTo>
                <a:close/>
                <a:moveTo>
                  <a:pt x="16" y="1482"/>
                </a:moveTo>
                <a:lnTo>
                  <a:pt x="16" y="1590"/>
                </a:lnTo>
                <a:cubicBezTo>
                  <a:pt x="16" y="1594"/>
                  <a:pt x="12" y="1597"/>
                  <a:pt x="8" y="1597"/>
                </a:cubicBezTo>
                <a:cubicBezTo>
                  <a:pt x="4" y="1597"/>
                  <a:pt x="0" y="1594"/>
                  <a:pt x="0" y="1590"/>
                </a:cubicBezTo>
                <a:lnTo>
                  <a:pt x="0" y="1482"/>
                </a:lnTo>
                <a:cubicBezTo>
                  <a:pt x="0" y="1478"/>
                  <a:pt x="4" y="1474"/>
                  <a:pt x="8" y="1474"/>
                </a:cubicBezTo>
                <a:cubicBezTo>
                  <a:pt x="12" y="1474"/>
                  <a:pt x="16" y="1478"/>
                  <a:pt x="16" y="1482"/>
                </a:cubicBezTo>
                <a:close/>
                <a:moveTo>
                  <a:pt x="16" y="1666"/>
                </a:moveTo>
                <a:lnTo>
                  <a:pt x="16" y="1774"/>
                </a:lnTo>
                <a:cubicBezTo>
                  <a:pt x="16" y="1778"/>
                  <a:pt x="12" y="1782"/>
                  <a:pt x="8" y="1782"/>
                </a:cubicBezTo>
                <a:cubicBezTo>
                  <a:pt x="4" y="1782"/>
                  <a:pt x="0" y="1778"/>
                  <a:pt x="0" y="1774"/>
                </a:cubicBezTo>
                <a:lnTo>
                  <a:pt x="0" y="1666"/>
                </a:lnTo>
                <a:cubicBezTo>
                  <a:pt x="0" y="1662"/>
                  <a:pt x="4" y="1659"/>
                  <a:pt x="8" y="1659"/>
                </a:cubicBezTo>
                <a:cubicBezTo>
                  <a:pt x="12" y="1659"/>
                  <a:pt x="16" y="1662"/>
                  <a:pt x="16" y="1666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0AC528-014F-40E9-92C4-892686301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1675" y="3540125"/>
            <a:ext cx="141605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nesis 47:28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8DE641-8543-4B17-ACA1-5E88504CFE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1675" y="3789363"/>
            <a:ext cx="91281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ge 1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F72B42-5867-42E7-8827-8972624B0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3100" y="2874963"/>
            <a:ext cx="3321050" cy="303213"/>
          </a:xfrm>
          <a:prstGeom prst="rect">
            <a:avLst/>
          </a:pr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1E2C48-486F-47B6-AC2B-A6522B3FD0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3100" y="2874963"/>
            <a:ext cx="3321050" cy="303213"/>
          </a:xfrm>
          <a:prstGeom prst="rect">
            <a:avLst/>
          </a:prstGeom>
          <a:noFill/>
          <a:ln w="14288" cap="rnd">
            <a:solidFill>
              <a:srgbClr val="33339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1CB38FA-FB19-4D88-BD13-BC4E127CD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5338" y="2960688"/>
            <a:ext cx="61277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10 yea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BA23DC9-FCF4-4EBF-98D7-658242E308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6188" y="2917825"/>
            <a:ext cx="69215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333399"/>
                </a:solidFill>
                <a:effectLst/>
                <a:latin typeface="Arial" panose="020B0604020202020204" pitchFamily="34" charset="0"/>
              </a:rPr>
              <a:t>Joseph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6FDF77-7CB3-4454-ACFE-45B30361D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4988" y="4613275"/>
            <a:ext cx="227013" cy="227013"/>
          </a:xfrm>
          <a:prstGeom prst="rect">
            <a:avLst/>
          </a:prstGeom>
          <a:solidFill>
            <a:srgbClr val="BF9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451C0D-82BC-4267-BFAE-A8C0FF38B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4988" y="4613275"/>
            <a:ext cx="227013" cy="227013"/>
          </a:xfrm>
          <a:prstGeom prst="rect">
            <a:avLst/>
          </a:prstGeom>
          <a:noFill/>
          <a:ln w="14288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8DF125-61FD-4ECF-BA3C-381169F9AB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613275"/>
            <a:ext cx="225425" cy="227013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615ED0-D89D-4587-B670-D6F373B4E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563" y="4613275"/>
            <a:ext cx="225425" cy="227013"/>
          </a:xfrm>
          <a:prstGeom prst="rect">
            <a:avLst/>
          </a:prstGeom>
          <a:noFill/>
          <a:ln w="14288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80A5DF-C2DA-4325-981E-C8B2920F5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3988" y="4597400"/>
            <a:ext cx="13525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Years of Plenty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1318D1C-E3C6-421B-BC5C-EC90FB113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48688" y="4597400"/>
            <a:ext cx="10366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ean Yea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251919-4DEB-40C3-9EFB-F6B44BB61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5300" y="4084638"/>
            <a:ext cx="4452938" cy="301625"/>
          </a:xfrm>
          <a:prstGeom prst="rect">
            <a:avLst/>
          </a:prstGeom>
          <a:solidFill>
            <a:srgbClr val="8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AC83206-EC0E-46B6-83C0-774816A933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5300" y="4084638"/>
            <a:ext cx="4452938" cy="301625"/>
          </a:xfrm>
          <a:prstGeom prst="rect">
            <a:avLst/>
          </a:prstGeom>
          <a:noFill/>
          <a:ln w="14288" cap="rnd">
            <a:solidFill>
              <a:srgbClr val="800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8ED4C99-65B5-4478-97B1-C260ECF54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275" y="4171950"/>
            <a:ext cx="61277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47 yea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D09CFE8-1274-4165-8B84-90E3F4B68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0050" y="2236788"/>
            <a:ext cx="150971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nesis 41:4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CB5B103-CAF4-41D7-B71B-0B957B31AD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20050" y="2489200"/>
            <a:ext cx="78581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ge 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B6F079-53B6-4EBA-9AA0-FDF64A9DB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0600" y="5022850"/>
            <a:ext cx="1762125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nesis 45:6, 1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75BDA40-D5F6-468C-A399-3AA782B4B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550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9C7CF87-3B59-4C87-ACFF-28E0F5FFA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5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5D63989-831B-49E5-B25A-933844701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8825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78F1F46-270E-437C-AE43-A6B90B501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8825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D724529-0ED5-4374-A98B-2E81D96A4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8388" y="1970088"/>
            <a:ext cx="293688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99D0C99-378D-4B92-81D1-21DD19AE92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8388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659083C-1132-4BAF-9AAE-917F703EE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0013" y="1970088"/>
            <a:ext cx="293688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4884054-531C-409E-8086-BEBC72BCF6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0013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05F4208-3D62-448B-BD5B-D6580B34A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1638" y="1970088"/>
            <a:ext cx="293688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7347E9B-1AFE-4E7F-92A4-483E5440E5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1638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993FAC6-0F65-43FE-B23B-D706638123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3263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688E1D1-2222-49EE-935B-B2E8D040F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3263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1E0C9D4-11C2-416E-AA79-9BD09B99C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4888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99DDBF6-F026-46ED-8870-B0544EE04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4888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21D7209-0C52-4024-AFFE-EBCC5D5700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F2C3DD3-AE86-4FD5-92C6-6F344B3ADD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D88EB06-649F-43A5-ABFA-76AB2A51E9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8138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BAF7827-185B-4E46-A196-562E7081E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8138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E059134-BC1F-4CA0-B2E9-0CE251DF2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9763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D62FAA6-1C60-4B50-B849-EA197FD45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9763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BF550DA-26D7-4EDD-96E0-2103A46B2B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5038" y="1970088"/>
            <a:ext cx="296863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587AB85-785A-4F37-9160-6A62CEC5C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5038" y="1970088"/>
            <a:ext cx="296863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4E9E281-F778-45C7-A866-3C9B018C6C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8250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638B10D-80F7-4D54-B019-CA9262D0E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82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D8ADA37-942D-4738-A247-6E26B4B8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50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12E8EB0-2EDB-46ED-96FF-C1B690AA0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0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39E943C-32C1-4753-8604-CE2A45AA4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1500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F28533B-F2F2-4827-B44A-F2AAC1543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150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17846D-82EF-40DB-9053-C9F0AB480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9475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F244EE8-8963-44C8-BB48-F1B2418A8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9475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85FA528-3EE9-4515-B662-7F4F47233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4750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9372C7A-1FEA-4FDD-A7DD-63F367D34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47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005F55C-F5AF-41F4-AD9E-2D53584EB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5" y="1970088"/>
            <a:ext cx="296863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02B24C3-78AF-42A4-9C93-EBCA2B39A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5" y="1970088"/>
            <a:ext cx="296863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E857B03-84DE-4641-B193-52B8D80DE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9588" y="1970088"/>
            <a:ext cx="293688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5766CE2-EA47-45FA-87F2-530D795C9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9588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E1FF185-0E13-4274-A31B-961F5D620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7563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05D8A34-1D30-4CBA-897A-982C6ABACB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7563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052F72C-9A06-4516-ADA0-63A6186042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9188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89FFDC0-27FB-40AE-B056-974C04163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9188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DE8A5F19-AD3B-48ED-A681-F8BC5E0DC7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150" y="1700213"/>
            <a:ext cx="20478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4869C98-478F-4F6E-899A-72384B6A1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6288" y="1700213"/>
            <a:ext cx="4397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EF8DA6E-0420-40A6-A200-0BE395C0D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5713" y="1700213"/>
            <a:ext cx="4397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DBF5540-52F2-405D-A6F3-BF1974AEB2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5550" y="3479800"/>
            <a:ext cx="5434013" cy="3032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1E69B19-2533-4F9C-BEDB-32A013608F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5550" y="3479800"/>
            <a:ext cx="5434013" cy="303213"/>
          </a:xfrm>
          <a:prstGeom prst="rect">
            <a:avLst/>
          </a:prstGeom>
          <a:noFill/>
          <a:ln w="14288" cap="rnd">
            <a:solidFill>
              <a:srgbClr val="800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7F845391-3708-467F-8EC0-C811DD9D2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3475" y="3567113"/>
            <a:ext cx="61277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800080"/>
                </a:solidFill>
                <a:effectLst/>
                <a:latin typeface="Arial" panose="020B0604020202020204" pitchFamily="34" charset="0"/>
              </a:rPr>
              <a:t>180 yea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1735FC1-FC4D-426F-98CF-5537AD991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8250" y="3278188"/>
            <a:ext cx="534988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0080"/>
                </a:solidFill>
                <a:effectLst/>
                <a:latin typeface="Arial" panose="020B0604020202020204" pitchFamily="34" charset="0"/>
              </a:rPr>
              <a:t>Isaac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A19A996-B1E8-49DB-9C95-A425431BD7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8750" y="1970088"/>
            <a:ext cx="293688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C71341A-2976-4FFC-89B9-6DF8CBEA1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8750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A0ED38B-EA29-4AD4-B92F-5C6118C9B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38" y="1970088"/>
            <a:ext cx="296863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5508D6A-2B5F-4191-B8C1-690346167A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2438" y="1970088"/>
            <a:ext cx="296863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CB0E3AC-474B-4A62-96E1-830A44890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5650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27A50E9-4725-4BDF-BE25-AF91CB3DF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756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619DD70-90EB-456D-9FCC-8A06B90D3A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925" y="1970088"/>
            <a:ext cx="293688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70C8300-1FDE-4359-BB10-5B3DECAEB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925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0841D8B-2768-4491-B069-F6B9DC322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8900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04F48BF-A42F-4A12-A7D2-017F43628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890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C705AEF-9C31-443E-B442-2ED54C4372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4175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C0DAC3F7-7716-4709-9E45-AB8533113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4175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9189602-6684-443C-A602-BF081EEA30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5425" y="1700213"/>
            <a:ext cx="439738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BBA5892-B3E5-4ECC-A7D7-0F7566C73B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1075" y="1700213"/>
            <a:ext cx="441325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40C2502-DA66-4310-A9CE-7A7CFC98AC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7850" y="1700213"/>
            <a:ext cx="3302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F02B0FED-B326-4671-B7C6-61540FF28DB2}"/>
              </a:ext>
            </a:extLst>
          </p:cNvPr>
          <p:cNvSpPr>
            <a:spLocks noEditPoints="1"/>
          </p:cNvSpPr>
          <p:nvPr/>
        </p:nvSpPr>
        <p:spPr bwMode="auto">
          <a:xfrm>
            <a:off x="7539038" y="2419350"/>
            <a:ext cx="14288" cy="479425"/>
          </a:xfrm>
          <a:custGeom>
            <a:avLst/>
            <a:gdLst>
              <a:gd name="T0" fmla="*/ 15 w 15"/>
              <a:gd name="T1" fmla="*/ 7 h 488"/>
              <a:gd name="T2" fmla="*/ 15 w 15"/>
              <a:gd name="T3" fmla="*/ 115 h 488"/>
              <a:gd name="T4" fmla="*/ 7 w 15"/>
              <a:gd name="T5" fmla="*/ 123 h 488"/>
              <a:gd name="T6" fmla="*/ 0 w 15"/>
              <a:gd name="T7" fmla="*/ 115 h 488"/>
              <a:gd name="T8" fmla="*/ 0 w 15"/>
              <a:gd name="T9" fmla="*/ 7 h 488"/>
              <a:gd name="T10" fmla="*/ 7 w 15"/>
              <a:gd name="T11" fmla="*/ 0 h 488"/>
              <a:gd name="T12" fmla="*/ 15 w 15"/>
              <a:gd name="T13" fmla="*/ 7 h 488"/>
              <a:gd name="T14" fmla="*/ 15 w 15"/>
              <a:gd name="T15" fmla="*/ 192 h 488"/>
              <a:gd name="T16" fmla="*/ 15 w 15"/>
              <a:gd name="T17" fmla="*/ 299 h 488"/>
              <a:gd name="T18" fmla="*/ 7 w 15"/>
              <a:gd name="T19" fmla="*/ 307 h 488"/>
              <a:gd name="T20" fmla="*/ 0 w 15"/>
              <a:gd name="T21" fmla="*/ 299 h 488"/>
              <a:gd name="T22" fmla="*/ 0 w 15"/>
              <a:gd name="T23" fmla="*/ 192 h 488"/>
              <a:gd name="T24" fmla="*/ 7 w 15"/>
              <a:gd name="T25" fmla="*/ 184 h 488"/>
              <a:gd name="T26" fmla="*/ 15 w 15"/>
              <a:gd name="T27" fmla="*/ 192 h 488"/>
              <a:gd name="T28" fmla="*/ 15 w 15"/>
              <a:gd name="T29" fmla="*/ 376 h 488"/>
              <a:gd name="T30" fmla="*/ 15 w 15"/>
              <a:gd name="T31" fmla="*/ 481 h 488"/>
              <a:gd name="T32" fmla="*/ 7 w 15"/>
              <a:gd name="T33" fmla="*/ 488 h 488"/>
              <a:gd name="T34" fmla="*/ 0 w 15"/>
              <a:gd name="T35" fmla="*/ 481 h 488"/>
              <a:gd name="T36" fmla="*/ 0 w 15"/>
              <a:gd name="T37" fmla="*/ 376 h 488"/>
              <a:gd name="T38" fmla="*/ 7 w 15"/>
              <a:gd name="T39" fmla="*/ 368 h 488"/>
              <a:gd name="T40" fmla="*/ 15 w 15"/>
              <a:gd name="T41" fmla="*/ 376 h 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" h="488">
                <a:moveTo>
                  <a:pt x="15" y="7"/>
                </a:moveTo>
                <a:lnTo>
                  <a:pt x="15" y="115"/>
                </a:lnTo>
                <a:cubicBezTo>
                  <a:pt x="15" y="119"/>
                  <a:pt x="12" y="123"/>
                  <a:pt x="7" y="123"/>
                </a:cubicBezTo>
                <a:cubicBezTo>
                  <a:pt x="3" y="123"/>
                  <a:pt x="0" y="119"/>
                  <a:pt x="0" y="115"/>
                </a:cubicBezTo>
                <a:lnTo>
                  <a:pt x="0" y="7"/>
                </a:lnTo>
                <a:cubicBezTo>
                  <a:pt x="0" y="3"/>
                  <a:pt x="3" y="0"/>
                  <a:pt x="7" y="0"/>
                </a:cubicBezTo>
                <a:cubicBezTo>
                  <a:pt x="12" y="0"/>
                  <a:pt x="15" y="3"/>
                  <a:pt x="15" y="7"/>
                </a:cubicBezTo>
                <a:close/>
                <a:moveTo>
                  <a:pt x="15" y="192"/>
                </a:moveTo>
                <a:lnTo>
                  <a:pt x="15" y="299"/>
                </a:lnTo>
                <a:cubicBezTo>
                  <a:pt x="15" y="304"/>
                  <a:pt x="12" y="307"/>
                  <a:pt x="7" y="307"/>
                </a:cubicBezTo>
                <a:cubicBezTo>
                  <a:pt x="3" y="307"/>
                  <a:pt x="0" y="304"/>
                  <a:pt x="0" y="299"/>
                </a:cubicBezTo>
                <a:lnTo>
                  <a:pt x="0" y="192"/>
                </a:lnTo>
                <a:cubicBezTo>
                  <a:pt x="0" y="188"/>
                  <a:pt x="3" y="184"/>
                  <a:pt x="7" y="184"/>
                </a:cubicBezTo>
                <a:cubicBezTo>
                  <a:pt x="12" y="184"/>
                  <a:pt x="15" y="188"/>
                  <a:pt x="15" y="192"/>
                </a:cubicBezTo>
                <a:close/>
                <a:moveTo>
                  <a:pt x="15" y="376"/>
                </a:moveTo>
                <a:lnTo>
                  <a:pt x="15" y="481"/>
                </a:lnTo>
                <a:cubicBezTo>
                  <a:pt x="15" y="485"/>
                  <a:pt x="12" y="488"/>
                  <a:pt x="7" y="488"/>
                </a:cubicBezTo>
                <a:cubicBezTo>
                  <a:pt x="3" y="488"/>
                  <a:pt x="0" y="485"/>
                  <a:pt x="0" y="481"/>
                </a:cubicBezTo>
                <a:lnTo>
                  <a:pt x="0" y="376"/>
                </a:lnTo>
                <a:cubicBezTo>
                  <a:pt x="0" y="372"/>
                  <a:pt x="3" y="368"/>
                  <a:pt x="7" y="368"/>
                </a:cubicBezTo>
                <a:cubicBezTo>
                  <a:pt x="12" y="368"/>
                  <a:pt x="15" y="372"/>
                  <a:pt x="15" y="376"/>
                </a:cubicBezTo>
                <a:close/>
              </a:path>
            </a:pathLst>
          </a:custGeom>
          <a:solidFill>
            <a:srgbClr val="000000"/>
          </a:solidFill>
          <a:ln w="1588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35EE78A-7858-4C0E-907E-33BCB0864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0925" y="2236788"/>
            <a:ext cx="139858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Genesis 37: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C40423F-AF5C-472B-AFB4-9DADA4445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0925" y="2489200"/>
            <a:ext cx="78581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ge 17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BF6859C7-FBDB-4829-87C3-2740FC353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9450" y="1970088"/>
            <a:ext cx="295275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00FB3D5-DD7D-4E37-8833-795F766148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9450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2F3676A-E554-4968-94C3-08605B29A5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550" y="2874963"/>
            <a:ext cx="3019425" cy="303213"/>
          </a:xfrm>
          <a:prstGeom prst="rect">
            <a:avLst/>
          </a:prstGeom>
          <a:solidFill>
            <a:srgbClr val="8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706479B-69C2-401E-83B0-EFEE8EDABC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3550" y="2874963"/>
            <a:ext cx="3019425" cy="303213"/>
          </a:xfrm>
          <a:prstGeom prst="rect">
            <a:avLst/>
          </a:prstGeom>
          <a:noFill/>
          <a:ln w="14288" cap="rnd">
            <a:solidFill>
              <a:srgbClr val="800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858D1D5-473A-40A5-A11A-645C11554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4975" y="2960688"/>
            <a:ext cx="61277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75 yea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Freeform 98">
            <a:extLst>
              <a:ext uri="{FF2B5EF4-FFF2-40B4-BE49-F238E27FC236}">
                <a16:creationId xmlns:a16="http://schemas.microsoft.com/office/drawing/2014/main" id="{906E3A8B-BFB7-4D3D-9899-E1DE6AFC1F9C}"/>
              </a:ext>
            </a:extLst>
          </p:cNvPr>
          <p:cNvSpPr>
            <a:spLocks/>
          </p:cNvSpPr>
          <p:nvPr/>
        </p:nvSpPr>
        <p:spPr bwMode="auto">
          <a:xfrm>
            <a:off x="1431925" y="2882900"/>
            <a:ext cx="301625" cy="301625"/>
          </a:xfrm>
          <a:custGeom>
            <a:avLst/>
            <a:gdLst>
              <a:gd name="T0" fmla="*/ 190 w 190"/>
              <a:gd name="T1" fmla="*/ 0 h 190"/>
              <a:gd name="T2" fmla="*/ 0 w 190"/>
              <a:gd name="T3" fmla="*/ 95 h 190"/>
              <a:gd name="T4" fmla="*/ 190 w 190"/>
              <a:gd name="T5" fmla="*/ 190 h 190"/>
              <a:gd name="T6" fmla="*/ 190 w 190"/>
              <a:gd name="T7" fmla="*/ 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" h="190">
                <a:moveTo>
                  <a:pt x="190" y="0"/>
                </a:moveTo>
                <a:lnTo>
                  <a:pt x="0" y="95"/>
                </a:lnTo>
                <a:lnTo>
                  <a:pt x="190" y="190"/>
                </a:lnTo>
                <a:lnTo>
                  <a:pt x="190" y="0"/>
                </a:lnTo>
                <a:close/>
              </a:path>
            </a:pathLst>
          </a:custGeom>
          <a:solidFill>
            <a:srgbClr val="8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Freeform 99">
            <a:extLst>
              <a:ext uri="{FF2B5EF4-FFF2-40B4-BE49-F238E27FC236}">
                <a16:creationId xmlns:a16="http://schemas.microsoft.com/office/drawing/2014/main" id="{76AA6408-CFEB-4DC6-AEEA-672C696D98E9}"/>
              </a:ext>
            </a:extLst>
          </p:cNvPr>
          <p:cNvSpPr>
            <a:spLocks/>
          </p:cNvSpPr>
          <p:nvPr/>
        </p:nvSpPr>
        <p:spPr bwMode="auto">
          <a:xfrm>
            <a:off x="1431925" y="2882900"/>
            <a:ext cx="301625" cy="301625"/>
          </a:xfrm>
          <a:custGeom>
            <a:avLst/>
            <a:gdLst>
              <a:gd name="T0" fmla="*/ 190 w 190"/>
              <a:gd name="T1" fmla="*/ 0 h 190"/>
              <a:gd name="T2" fmla="*/ 0 w 190"/>
              <a:gd name="T3" fmla="*/ 95 h 190"/>
              <a:gd name="T4" fmla="*/ 190 w 190"/>
              <a:gd name="T5" fmla="*/ 190 h 190"/>
              <a:gd name="T6" fmla="*/ 190 w 190"/>
              <a:gd name="T7" fmla="*/ 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" h="190">
                <a:moveTo>
                  <a:pt x="190" y="0"/>
                </a:moveTo>
                <a:lnTo>
                  <a:pt x="0" y="95"/>
                </a:lnTo>
                <a:lnTo>
                  <a:pt x="190" y="190"/>
                </a:lnTo>
                <a:lnTo>
                  <a:pt x="190" y="0"/>
                </a:lnTo>
                <a:close/>
              </a:path>
            </a:pathLst>
          </a:custGeom>
          <a:noFill/>
          <a:ln w="4763" cap="rnd">
            <a:solidFill>
              <a:srgbClr val="800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100">
            <a:extLst>
              <a:ext uri="{FF2B5EF4-FFF2-40B4-BE49-F238E27FC236}">
                <a16:creationId xmlns:a16="http://schemas.microsoft.com/office/drawing/2014/main" id="{FB3691B2-74B6-411A-85DA-43FE79B18561}"/>
              </a:ext>
            </a:extLst>
          </p:cNvPr>
          <p:cNvSpPr>
            <a:spLocks/>
          </p:cNvSpPr>
          <p:nvPr/>
        </p:nvSpPr>
        <p:spPr bwMode="auto">
          <a:xfrm>
            <a:off x="1582738" y="4084638"/>
            <a:ext cx="301625" cy="265113"/>
          </a:xfrm>
          <a:custGeom>
            <a:avLst/>
            <a:gdLst>
              <a:gd name="T0" fmla="*/ 0 w 190"/>
              <a:gd name="T1" fmla="*/ 0 h 167"/>
              <a:gd name="T2" fmla="*/ 95 w 190"/>
              <a:gd name="T3" fmla="*/ 167 h 167"/>
              <a:gd name="T4" fmla="*/ 190 w 190"/>
              <a:gd name="T5" fmla="*/ 0 h 167"/>
              <a:gd name="T6" fmla="*/ 0 w 190"/>
              <a:gd name="T7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" h="167">
                <a:moveTo>
                  <a:pt x="0" y="0"/>
                </a:moveTo>
                <a:lnTo>
                  <a:pt x="95" y="167"/>
                </a:lnTo>
                <a:lnTo>
                  <a:pt x="190" y="0"/>
                </a:lnTo>
                <a:lnTo>
                  <a:pt x="0" y="0"/>
                </a:lnTo>
                <a:close/>
              </a:path>
            </a:pathLst>
          </a:custGeom>
          <a:solidFill>
            <a:srgbClr val="3333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Freeform 101">
            <a:extLst>
              <a:ext uri="{FF2B5EF4-FFF2-40B4-BE49-F238E27FC236}">
                <a16:creationId xmlns:a16="http://schemas.microsoft.com/office/drawing/2014/main" id="{1250CC2C-A929-4582-8BB3-4E40D841A893}"/>
              </a:ext>
            </a:extLst>
          </p:cNvPr>
          <p:cNvSpPr>
            <a:spLocks/>
          </p:cNvSpPr>
          <p:nvPr/>
        </p:nvSpPr>
        <p:spPr bwMode="auto">
          <a:xfrm>
            <a:off x="1582738" y="4084638"/>
            <a:ext cx="301625" cy="265113"/>
          </a:xfrm>
          <a:custGeom>
            <a:avLst/>
            <a:gdLst>
              <a:gd name="T0" fmla="*/ 0 w 190"/>
              <a:gd name="T1" fmla="*/ 0 h 167"/>
              <a:gd name="T2" fmla="*/ 95 w 190"/>
              <a:gd name="T3" fmla="*/ 167 h 167"/>
              <a:gd name="T4" fmla="*/ 190 w 190"/>
              <a:gd name="T5" fmla="*/ 0 h 167"/>
              <a:gd name="T6" fmla="*/ 0 w 190"/>
              <a:gd name="T7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0" h="167">
                <a:moveTo>
                  <a:pt x="0" y="0"/>
                </a:moveTo>
                <a:lnTo>
                  <a:pt x="95" y="167"/>
                </a:lnTo>
                <a:lnTo>
                  <a:pt x="190" y="0"/>
                </a:lnTo>
                <a:lnTo>
                  <a:pt x="0" y="0"/>
                </a:lnTo>
                <a:close/>
              </a:path>
            </a:pathLst>
          </a:custGeom>
          <a:noFill/>
          <a:ln w="11113" cap="rnd">
            <a:solidFill>
              <a:srgbClr val="33339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764D82D-EF7C-4484-8E08-C6234DC785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6225" y="2616200"/>
            <a:ext cx="8493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0080"/>
                </a:solidFill>
                <a:effectLst/>
                <a:latin typeface="Arial" panose="020B0604020202020204" pitchFamily="34" charset="0"/>
              </a:rPr>
              <a:t>Abraham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C4C081EF-A3EE-4551-9A4E-BF69AFE5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363" y="1970088"/>
            <a:ext cx="295275" cy="15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F58DDAE-2F97-4C45-B735-3013FE945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5363" y="1970088"/>
            <a:ext cx="295275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FA3087D-D4BC-42B7-83DB-3308CA35F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0638" y="1970088"/>
            <a:ext cx="293688" cy="15081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2A83718-5E06-4A18-825F-E7A6442367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0638" y="1970088"/>
            <a:ext cx="293688" cy="150813"/>
          </a:xfrm>
          <a:prstGeom prst="rect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882C13CD-B71E-42FB-8D1F-2442C95BEE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1050" y="4049713"/>
            <a:ext cx="1917700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rrival in Canaan,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E5B71E7-2843-4ED8-96F1-4416AD3DF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1050" y="4302125"/>
            <a:ext cx="2154238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ge 75 Genesis 12: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Line 109">
            <a:extLst>
              <a:ext uri="{FF2B5EF4-FFF2-40B4-BE49-F238E27FC236}">
                <a16:creationId xmlns:a16="http://schemas.microsoft.com/office/drawing/2014/main" id="{34E92327-B443-4C02-B1F3-427FA97069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33550" y="5443538"/>
            <a:ext cx="754063" cy="0"/>
          </a:xfrm>
          <a:prstGeom prst="line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C8BF9C4-76BD-4665-869A-DE67E22D1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0725" y="5313363"/>
            <a:ext cx="227626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5</a:t>
            </a:r>
            <a:endParaRPr kumimoji="0" lang="en-US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3" name="Line 112">
            <a:extLst>
              <a:ext uri="{FF2B5EF4-FFF2-40B4-BE49-F238E27FC236}">
                <a16:creationId xmlns:a16="http://schemas.microsoft.com/office/drawing/2014/main" id="{3424864D-38F6-41CB-8DAD-BBE156A0894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33550" y="5368925"/>
            <a:ext cx="0" cy="150813"/>
          </a:xfrm>
          <a:prstGeom prst="line">
            <a:avLst/>
          </a:prstGeom>
          <a:noFill/>
          <a:ln w="15875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113">
            <a:extLst>
              <a:ext uri="{FF2B5EF4-FFF2-40B4-BE49-F238E27FC236}">
                <a16:creationId xmlns:a16="http://schemas.microsoft.com/office/drawing/2014/main" id="{B6E37F6A-1E87-449F-8095-9C8B5CBE6318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7613" y="5368925"/>
            <a:ext cx="0" cy="150813"/>
          </a:xfrm>
          <a:prstGeom prst="line">
            <a:avLst/>
          </a:prstGeom>
          <a:noFill/>
          <a:ln w="15875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Line 114">
            <a:extLst>
              <a:ext uri="{FF2B5EF4-FFF2-40B4-BE49-F238E27FC236}">
                <a16:creationId xmlns:a16="http://schemas.microsoft.com/office/drawing/2014/main" id="{1135C056-7F1F-4D71-B866-3E62DB0DE95E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7613" y="5443538"/>
            <a:ext cx="1811338" cy="0"/>
          </a:xfrm>
          <a:prstGeom prst="line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8430097-8C9B-409C-9E66-2670A5F2C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3588" y="5313363"/>
            <a:ext cx="227626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8" name="Line 117">
            <a:extLst>
              <a:ext uri="{FF2B5EF4-FFF2-40B4-BE49-F238E27FC236}">
                <a16:creationId xmlns:a16="http://schemas.microsoft.com/office/drawing/2014/main" id="{D644ECF8-319A-40A9-A347-512578EB4B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298950" y="5368925"/>
            <a:ext cx="0" cy="150813"/>
          </a:xfrm>
          <a:prstGeom prst="line">
            <a:avLst/>
          </a:prstGeom>
          <a:noFill/>
          <a:ln w="15875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118">
            <a:extLst>
              <a:ext uri="{FF2B5EF4-FFF2-40B4-BE49-F238E27FC236}">
                <a16:creationId xmlns:a16="http://schemas.microsoft.com/office/drawing/2014/main" id="{8804C4F4-81E2-4B72-A968-6C3F1A8DA217}"/>
              </a:ext>
            </a:extLst>
          </p:cNvPr>
          <p:cNvSpPr>
            <a:spLocks noChangeShapeType="1"/>
          </p:cNvSpPr>
          <p:nvPr/>
        </p:nvSpPr>
        <p:spPr bwMode="auto">
          <a:xfrm>
            <a:off x="4298950" y="5443538"/>
            <a:ext cx="3925888" cy="0"/>
          </a:xfrm>
          <a:prstGeom prst="line">
            <a:avLst/>
          </a:prstGeom>
          <a:noFill/>
          <a:ln w="14288" cap="rnd">
            <a:solidFill>
              <a:srgbClr val="96969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96446CF6-3E53-4BAC-81E4-8A3B79B6D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5688" y="5313363"/>
            <a:ext cx="341440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30</a:t>
            </a:r>
            <a:endParaRPr kumimoji="0" lang="en-US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Line 121">
            <a:extLst>
              <a:ext uri="{FF2B5EF4-FFF2-40B4-BE49-F238E27FC236}">
                <a16:creationId xmlns:a16="http://schemas.microsoft.com/office/drawing/2014/main" id="{D2793307-4DBD-41AF-B0D5-3F4F51CF58B5}"/>
              </a:ext>
            </a:extLst>
          </p:cNvPr>
          <p:cNvSpPr>
            <a:spLocks noChangeShapeType="1"/>
          </p:cNvSpPr>
          <p:nvPr/>
        </p:nvSpPr>
        <p:spPr bwMode="auto">
          <a:xfrm>
            <a:off x="8224838" y="5368925"/>
            <a:ext cx="0" cy="150813"/>
          </a:xfrm>
          <a:prstGeom prst="line">
            <a:avLst/>
          </a:prstGeom>
          <a:noFill/>
          <a:ln w="15875" cap="rnd">
            <a:solidFill>
              <a:srgbClr val="7F7F7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122">
            <a:extLst>
              <a:ext uri="{FF2B5EF4-FFF2-40B4-BE49-F238E27FC236}">
                <a16:creationId xmlns:a16="http://schemas.microsoft.com/office/drawing/2014/main" id="{04ED6B3D-8A8E-40E4-8F85-709D5FABCBFC}"/>
              </a:ext>
            </a:extLst>
          </p:cNvPr>
          <p:cNvSpPr>
            <a:spLocks noEditPoints="1"/>
          </p:cNvSpPr>
          <p:nvPr/>
        </p:nvSpPr>
        <p:spPr bwMode="auto">
          <a:xfrm>
            <a:off x="4291013" y="3779838"/>
            <a:ext cx="15875" cy="1590675"/>
          </a:xfrm>
          <a:custGeom>
            <a:avLst/>
            <a:gdLst>
              <a:gd name="T0" fmla="*/ 0 w 16"/>
              <a:gd name="T1" fmla="*/ 24 h 1616"/>
              <a:gd name="T2" fmla="*/ 16 w 16"/>
              <a:gd name="T3" fmla="*/ 56 h 1616"/>
              <a:gd name="T4" fmla="*/ 0 w 16"/>
              <a:gd name="T5" fmla="*/ 56 h 1616"/>
              <a:gd name="T6" fmla="*/ 16 w 16"/>
              <a:gd name="T7" fmla="*/ 120 h 1616"/>
              <a:gd name="T8" fmla="*/ 8 w 16"/>
              <a:gd name="T9" fmla="*/ 96 h 1616"/>
              <a:gd name="T10" fmla="*/ 8 w 16"/>
              <a:gd name="T11" fmla="*/ 176 h 1616"/>
              <a:gd name="T12" fmla="*/ 16 w 16"/>
              <a:gd name="T13" fmla="*/ 152 h 1616"/>
              <a:gd name="T14" fmla="*/ 0 w 16"/>
              <a:gd name="T15" fmla="*/ 216 h 1616"/>
              <a:gd name="T16" fmla="*/ 16 w 16"/>
              <a:gd name="T17" fmla="*/ 248 h 1616"/>
              <a:gd name="T18" fmla="*/ 0 w 16"/>
              <a:gd name="T19" fmla="*/ 248 h 1616"/>
              <a:gd name="T20" fmla="*/ 16 w 16"/>
              <a:gd name="T21" fmla="*/ 312 h 1616"/>
              <a:gd name="T22" fmla="*/ 8 w 16"/>
              <a:gd name="T23" fmla="*/ 288 h 1616"/>
              <a:gd name="T24" fmla="*/ 8 w 16"/>
              <a:gd name="T25" fmla="*/ 368 h 1616"/>
              <a:gd name="T26" fmla="*/ 16 w 16"/>
              <a:gd name="T27" fmla="*/ 344 h 1616"/>
              <a:gd name="T28" fmla="*/ 0 w 16"/>
              <a:gd name="T29" fmla="*/ 408 h 1616"/>
              <a:gd name="T30" fmla="*/ 16 w 16"/>
              <a:gd name="T31" fmla="*/ 440 h 1616"/>
              <a:gd name="T32" fmla="*/ 0 w 16"/>
              <a:gd name="T33" fmla="*/ 440 h 1616"/>
              <a:gd name="T34" fmla="*/ 16 w 16"/>
              <a:gd name="T35" fmla="*/ 504 h 1616"/>
              <a:gd name="T36" fmla="*/ 8 w 16"/>
              <a:gd name="T37" fmla="*/ 480 h 1616"/>
              <a:gd name="T38" fmla="*/ 8 w 16"/>
              <a:gd name="T39" fmla="*/ 560 h 1616"/>
              <a:gd name="T40" fmla="*/ 16 w 16"/>
              <a:gd name="T41" fmla="*/ 536 h 1616"/>
              <a:gd name="T42" fmla="*/ 0 w 16"/>
              <a:gd name="T43" fmla="*/ 600 h 1616"/>
              <a:gd name="T44" fmla="*/ 16 w 16"/>
              <a:gd name="T45" fmla="*/ 632 h 1616"/>
              <a:gd name="T46" fmla="*/ 0 w 16"/>
              <a:gd name="T47" fmla="*/ 632 h 1616"/>
              <a:gd name="T48" fmla="*/ 16 w 16"/>
              <a:gd name="T49" fmla="*/ 696 h 1616"/>
              <a:gd name="T50" fmla="*/ 8 w 16"/>
              <a:gd name="T51" fmla="*/ 672 h 1616"/>
              <a:gd name="T52" fmla="*/ 8 w 16"/>
              <a:gd name="T53" fmla="*/ 752 h 1616"/>
              <a:gd name="T54" fmla="*/ 16 w 16"/>
              <a:gd name="T55" fmla="*/ 728 h 1616"/>
              <a:gd name="T56" fmla="*/ 0 w 16"/>
              <a:gd name="T57" fmla="*/ 792 h 1616"/>
              <a:gd name="T58" fmla="*/ 16 w 16"/>
              <a:gd name="T59" fmla="*/ 824 h 1616"/>
              <a:gd name="T60" fmla="*/ 0 w 16"/>
              <a:gd name="T61" fmla="*/ 824 h 1616"/>
              <a:gd name="T62" fmla="*/ 16 w 16"/>
              <a:gd name="T63" fmla="*/ 888 h 1616"/>
              <a:gd name="T64" fmla="*/ 8 w 16"/>
              <a:gd name="T65" fmla="*/ 864 h 1616"/>
              <a:gd name="T66" fmla="*/ 8 w 16"/>
              <a:gd name="T67" fmla="*/ 944 h 1616"/>
              <a:gd name="T68" fmla="*/ 16 w 16"/>
              <a:gd name="T69" fmla="*/ 920 h 1616"/>
              <a:gd name="T70" fmla="*/ 0 w 16"/>
              <a:gd name="T71" fmla="*/ 984 h 1616"/>
              <a:gd name="T72" fmla="*/ 16 w 16"/>
              <a:gd name="T73" fmla="*/ 1016 h 1616"/>
              <a:gd name="T74" fmla="*/ 0 w 16"/>
              <a:gd name="T75" fmla="*/ 1016 h 1616"/>
              <a:gd name="T76" fmla="*/ 16 w 16"/>
              <a:gd name="T77" fmla="*/ 1080 h 1616"/>
              <a:gd name="T78" fmla="*/ 8 w 16"/>
              <a:gd name="T79" fmla="*/ 1056 h 1616"/>
              <a:gd name="T80" fmla="*/ 8 w 16"/>
              <a:gd name="T81" fmla="*/ 1136 h 1616"/>
              <a:gd name="T82" fmla="*/ 16 w 16"/>
              <a:gd name="T83" fmla="*/ 1112 h 1616"/>
              <a:gd name="T84" fmla="*/ 0 w 16"/>
              <a:gd name="T85" fmla="*/ 1176 h 1616"/>
              <a:gd name="T86" fmla="*/ 16 w 16"/>
              <a:gd name="T87" fmla="*/ 1208 h 1616"/>
              <a:gd name="T88" fmla="*/ 0 w 16"/>
              <a:gd name="T89" fmla="*/ 1208 h 1616"/>
              <a:gd name="T90" fmla="*/ 16 w 16"/>
              <a:gd name="T91" fmla="*/ 1272 h 1616"/>
              <a:gd name="T92" fmla="*/ 8 w 16"/>
              <a:gd name="T93" fmla="*/ 1248 h 1616"/>
              <a:gd name="T94" fmla="*/ 8 w 16"/>
              <a:gd name="T95" fmla="*/ 1328 h 1616"/>
              <a:gd name="T96" fmla="*/ 16 w 16"/>
              <a:gd name="T97" fmla="*/ 1304 h 1616"/>
              <a:gd name="T98" fmla="*/ 0 w 16"/>
              <a:gd name="T99" fmla="*/ 1368 h 1616"/>
              <a:gd name="T100" fmla="*/ 16 w 16"/>
              <a:gd name="T101" fmla="*/ 1400 h 1616"/>
              <a:gd name="T102" fmla="*/ 0 w 16"/>
              <a:gd name="T103" fmla="*/ 1400 h 1616"/>
              <a:gd name="T104" fmla="*/ 16 w 16"/>
              <a:gd name="T105" fmla="*/ 1464 h 1616"/>
              <a:gd name="T106" fmla="*/ 8 w 16"/>
              <a:gd name="T107" fmla="*/ 1440 h 1616"/>
              <a:gd name="T108" fmla="*/ 8 w 16"/>
              <a:gd name="T109" fmla="*/ 1520 h 1616"/>
              <a:gd name="T110" fmla="*/ 16 w 16"/>
              <a:gd name="T111" fmla="*/ 1496 h 1616"/>
              <a:gd name="T112" fmla="*/ 0 w 16"/>
              <a:gd name="T113" fmla="*/ 1560 h 1616"/>
              <a:gd name="T114" fmla="*/ 16 w 16"/>
              <a:gd name="T115" fmla="*/ 1592 h 1616"/>
              <a:gd name="T116" fmla="*/ 0 w 16"/>
              <a:gd name="T117" fmla="*/ 1592 h 1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" h="1616">
                <a:moveTo>
                  <a:pt x="16" y="8"/>
                </a:moveTo>
                <a:lnTo>
                  <a:pt x="16" y="24"/>
                </a:lnTo>
                <a:cubicBezTo>
                  <a:pt x="16" y="29"/>
                  <a:pt x="13" y="32"/>
                  <a:pt x="8" y="32"/>
                </a:cubicBezTo>
                <a:cubicBezTo>
                  <a:pt x="4" y="32"/>
                  <a:pt x="0" y="29"/>
                  <a:pt x="0" y="24"/>
                </a:cubicBez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cubicBezTo>
                  <a:pt x="13" y="0"/>
                  <a:pt x="16" y="4"/>
                  <a:pt x="16" y="8"/>
                </a:cubicBezTo>
                <a:close/>
                <a:moveTo>
                  <a:pt x="16" y="56"/>
                </a:moveTo>
                <a:lnTo>
                  <a:pt x="16" y="72"/>
                </a:lnTo>
                <a:cubicBezTo>
                  <a:pt x="16" y="77"/>
                  <a:pt x="13" y="80"/>
                  <a:pt x="8" y="80"/>
                </a:cubicBezTo>
                <a:cubicBezTo>
                  <a:pt x="4" y="80"/>
                  <a:pt x="0" y="77"/>
                  <a:pt x="0" y="72"/>
                </a:cubicBezTo>
                <a:lnTo>
                  <a:pt x="0" y="56"/>
                </a:lnTo>
                <a:cubicBezTo>
                  <a:pt x="0" y="52"/>
                  <a:pt x="4" y="48"/>
                  <a:pt x="8" y="48"/>
                </a:cubicBezTo>
                <a:cubicBezTo>
                  <a:pt x="13" y="48"/>
                  <a:pt x="16" y="52"/>
                  <a:pt x="16" y="56"/>
                </a:cubicBezTo>
                <a:close/>
                <a:moveTo>
                  <a:pt x="16" y="104"/>
                </a:moveTo>
                <a:lnTo>
                  <a:pt x="16" y="120"/>
                </a:lnTo>
                <a:cubicBezTo>
                  <a:pt x="16" y="125"/>
                  <a:pt x="13" y="128"/>
                  <a:pt x="8" y="128"/>
                </a:cubicBezTo>
                <a:cubicBezTo>
                  <a:pt x="4" y="128"/>
                  <a:pt x="0" y="125"/>
                  <a:pt x="0" y="120"/>
                </a:cubicBezTo>
                <a:lnTo>
                  <a:pt x="0" y="104"/>
                </a:lnTo>
                <a:cubicBezTo>
                  <a:pt x="0" y="100"/>
                  <a:pt x="4" y="96"/>
                  <a:pt x="8" y="96"/>
                </a:cubicBezTo>
                <a:cubicBezTo>
                  <a:pt x="13" y="96"/>
                  <a:pt x="16" y="100"/>
                  <a:pt x="16" y="104"/>
                </a:cubicBezTo>
                <a:close/>
                <a:moveTo>
                  <a:pt x="16" y="152"/>
                </a:moveTo>
                <a:lnTo>
                  <a:pt x="16" y="168"/>
                </a:lnTo>
                <a:cubicBezTo>
                  <a:pt x="16" y="173"/>
                  <a:pt x="13" y="176"/>
                  <a:pt x="8" y="176"/>
                </a:cubicBezTo>
                <a:cubicBezTo>
                  <a:pt x="4" y="176"/>
                  <a:pt x="0" y="173"/>
                  <a:pt x="0" y="168"/>
                </a:cubicBezTo>
                <a:lnTo>
                  <a:pt x="0" y="152"/>
                </a:lnTo>
                <a:cubicBezTo>
                  <a:pt x="0" y="148"/>
                  <a:pt x="4" y="144"/>
                  <a:pt x="8" y="144"/>
                </a:cubicBezTo>
                <a:cubicBezTo>
                  <a:pt x="13" y="144"/>
                  <a:pt x="16" y="148"/>
                  <a:pt x="16" y="152"/>
                </a:cubicBezTo>
                <a:close/>
                <a:moveTo>
                  <a:pt x="16" y="200"/>
                </a:moveTo>
                <a:lnTo>
                  <a:pt x="16" y="216"/>
                </a:lnTo>
                <a:cubicBezTo>
                  <a:pt x="16" y="221"/>
                  <a:pt x="13" y="224"/>
                  <a:pt x="8" y="224"/>
                </a:cubicBezTo>
                <a:cubicBezTo>
                  <a:pt x="4" y="224"/>
                  <a:pt x="0" y="221"/>
                  <a:pt x="0" y="216"/>
                </a:cubicBezTo>
                <a:lnTo>
                  <a:pt x="0" y="200"/>
                </a:lnTo>
                <a:cubicBezTo>
                  <a:pt x="0" y="196"/>
                  <a:pt x="4" y="192"/>
                  <a:pt x="8" y="192"/>
                </a:cubicBezTo>
                <a:cubicBezTo>
                  <a:pt x="13" y="192"/>
                  <a:pt x="16" y="196"/>
                  <a:pt x="16" y="200"/>
                </a:cubicBezTo>
                <a:close/>
                <a:moveTo>
                  <a:pt x="16" y="248"/>
                </a:moveTo>
                <a:lnTo>
                  <a:pt x="16" y="264"/>
                </a:lnTo>
                <a:cubicBezTo>
                  <a:pt x="16" y="269"/>
                  <a:pt x="13" y="272"/>
                  <a:pt x="8" y="272"/>
                </a:cubicBezTo>
                <a:cubicBezTo>
                  <a:pt x="4" y="272"/>
                  <a:pt x="0" y="269"/>
                  <a:pt x="0" y="264"/>
                </a:cubicBezTo>
                <a:lnTo>
                  <a:pt x="0" y="248"/>
                </a:lnTo>
                <a:cubicBezTo>
                  <a:pt x="0" y="244"/>
                  <a:pt x="4" y="240"/>
                  <a:pt x="8" y="240"/>
                </a:cubicBezTo>
                <a:cubicBezTo>
                  <a:pt x="13" y="240"/>
                  <a:pt x="16" y="244"/>
                  <a:pt x="16" y="248"/>
                </a:cubicBezTo>
                <a:close/>
                <a:moveTo>
                  <a:pt x="16" y="296"/>
                </a:moveTo>
                <a:lnTo>
                  <a:pt x="16" y="312"/>
                </a:lnTo>
                <a:cubicBezTo>
                  <a:pt x="16" y="317"/>
                  <a:pt x="13" y="320"/>
                  <a:pt x="8" y="320"/>
                </a:cubicBezTo>
                <a:cubicBezTo>
                  <a:pt x="4" y="320"/>
                  <a:pt x="0" y="317"/>
                  <a:pt x="0" y="312"/>
                </a:cubicBezTo>
                <a:lnTo>
                  <a:pt x="0" y="296"/>
                </a:lnTo>
                <a:cubicBezTo>
                  <a:pt x="0" y="292"/>
                  <a:pt x="4" y="288"/>
                  <a:pt x="8" y="288"/>
                </a:cubicBezTo>
                <a:cubicBezTo>
                  <a:pt x="13" y="288"/>
                  <a:pt x="16" y="292"/>
                  <a:pt x="16" y="296"/>
                </a:cubicBezTo>
                <a:close/>
                <a:moveTo>
                  <a:pt x="16" y="344"/>
                </a:moveTo>
                <a:lnTo>
                  <a:pt x="16" y="360"/>
                </a:lnTo>
                <a:cubicBezTo>
                  <a:pt x="16" y="365"/>
                  <a:pt x="13" y="368"/>
                  <a:pt x="8" y="368"/>
                </a:cubicBezTo>
                <a:cubicBezTo>
                  <a:pt x="4" y="368"/>
                  <a:pt x="0" y="365"/>
                  <a:pt x="0" y="360"/>
                </a:cubicBezTo>
                <a:lnTo>
                  <a:pt x="0" y="344"/>
                </a:lnTo>
                <a:cubicBezTo>
                  <a:pt x="0" y="340"/>
                  <a:pt x="4" y="336"/>
                  <a:pt x="8" y="336"/>
                </a:cubicBezTo>
                <a:cubicBezTo>
                  <a:pt x="13" y="336"/>
                  <a:pt x="16" y="340"/>
                  <a:pt x="16" y="344"/>
                </a:cubicBezTo>
                <a:close/>
                <a:moveTo>
                  <a:pt x="16" y="392"/>
                </a:moveTo>
                <a:lnTo>
                  <a:pt x="16" y="408"/>
                </a:lnTo>
                <a:cubicBezTo>
                  <a:pt x="16" y="413"/>
                  <a:pt x="13" y="416"/>
                  <a:pt x="8" y="416"/>
                </a:cubicBezTo>
                <a:cubicBezTo>
                  <a:pt x="4" y="416"/>
                  <a:pt x="0" y="413"/>
                  <a:pt x="0" y="408"/>
                </a:cubicBezTo>
                <a:lnTo>
                  <a:pt x="0" y="392"/>
                </a:lnTo>
                <a:cubicBezTo>
                  <a:pt x="0" y="388"/>
                  <a:pt x="4" y="384"/>
                  <a:pt x="8" y="384"/>
                </a:cubicBezTo>
                <a:cubicBezTo>
                  <a:pt x="13" y="384"/>
                  <a:pt x="16" y="388"/>
                  <a:pt x="16" y="392"/>
                </a:cubicBezTo>
                <a:close/>
                <a:moveTo>
                  <a:pt x="16" y="440"/>
                </a:moveTo>
                <a:lnTo>
                  <a:pt x="16" y="456"/>
                </a:lnTo>
                <a:cubicBezTo>
                  <a:pt x="16" y="461"/>
                  <a:pt x="13" y="464"/>
                  <a:pt x="8" y="464"/>
                </a:cubicBezTo>
                <a:cubicBezTo>
                  <a:pt x="4" y="464"/>
                  <a:pt x="0" y="461"/>
                  <a:pt x="0" y="456"/>
                </a:cubicBezTo>
                <a:lnTo>
                  <a:pt x="0" y="440"/>
                </a:lnTo>
                <a:cubicBezTo>
                  <a:pt x="0" y="436"/>
                  <a:pt x="4" y="432"/>
                  <a:pt x="8" y="432"/>
                </a:cubicBezTo>
                <a:cubicBezTo>
                  <a:pt x="13" y="432"/>
                  <a:pt x="16" y="436"/>
                  <a:pt x="16" y="440"/>
                </a:cubicBezTo>
                <a:close/>
                <a:moveTo>
                  <a:pt x="16" y="488"/>
                </a:moveTo>
                <a:lnTo>
                  <a:pt x="16" y="504"/>
                </a:lnTo>
                <a:cubicBezTo>
                  <a:pt x="16" y="509"/>
                  <a:pt x="13" y="512"/>
                  <a:pt x="8" y="512"/>
                </a:cubicBezTo>
                <a:cubicBezTo>
                  <a:pt x="4" y="512"/>
                  <a:pt x="0" y="509"/>
                  <a:pt x="0" y="504"/>
                </a:cubicBezTo>
                <a:lnTo>
                  <a:pt x="0" y="488"/>
                </a:lnTo>
                <a:cubicBezTo>
                  <a:pt x="0" y="484"/>
                  <a:pt x="4" y="480"/>
                  <a:pt x="8" y="480"/>
                </a:cubicBezTo>
                <a:cubicBezTo>
                  <a:pt x="13" y="480"/>
                  <a:pt x="16" y="484"/>
                  <a:pt x="16" y="488"/>
                </a:cubicBezTo>
                <a:close/>
                <a:moveTo>
                  <a:pt x="16" y="536"/>
                </a:moveTo>
                <a:lnTo>
                  <a:pt x="16" y="552"/>
                </a:lnTo>
                <a:cubicBezTo>
                  <a:pt x="16" y="557"/>
                  <a:pt x="13" y="560"/>
                  <a:pt x="8" y="560"/>
                </a:cubicBezTo>
                <a:cubicBezTo>
                  <a:pt x="4" y="560"/>
                  <a:pt x="0" y="557"/>
                  <a:pt x="0" y="552"/>
                </a:cubicBezTo>
                <a:lnTo>
                  <a:pt x="0" y="536"/>
                </a:lnTo>
                <a:cubicBezTo>
                  <a:pt x="0" y="532"/>
                  <a:pt x="4" y="528"/>
                  <a:pt x="8" y="528"/>
                </a:cubicBezTo>
                <a:cubicBezTo>
                  <a:pt x="13" y="528"/>
                  <a:pt x="16" y="532"/>
                  <a:pt x="16" y="536"/>
                </a:cubicBezTo>
                <a:close/>
                <a:moveTo>
                  <a:pt x="16" y="584"/>
                </a:moveTo>
                <a:lnTo>
                  <a:pt x="16" y="600"/>
                </a:lnTo>
                <a:cubicBezTo>
                  <a:pt x="16" y="605"/>
                  <a:pt x="13" y="608"/>
                  <a:pt x="8" y="608"/>
                </a:cubicBezTo>
                <a:cubicBezTo>
                  <a:pt x="4" y="608"/>
                  <a:pt x="0" y="605"/>
                  <a:pt x="0" y="600"/>
                </a:cubicBezTo>
                <a:lnTo>
                  <a:pt x="0" y="584"/>
                </a:lnTo>
                <a:cubicBezTo>
                  <a:pt x="0" y="580"/>
                  <a:pt x="4" y="576"/>
                  <a:pt x="8" y="576"/>
                </a:cubicBezTo>
                <a:cubicBezTo>
                  <a:pt x="13" y="576"/>
                  <a:pt x="16" y="580"/>
                  <a:pt x="16" y="584"/>
                </a:cubicBezTo>
                <a:close/>
                <a:moveTo>
                  <a:pt x="16" y="632"/>
                </a:moveTo>
                <a:lnTo>
                  <a:pt x="16" y="648"/>
                </a:lnTo>
                <a:cubicBezTo>
                  <a:pt x="16" y="653"/>
                  <a:pt x="13" y="656"/>
                  <a:pt x="8" y="656"/>
                </a:cubicBezTo>
                <a:cubicBezTo>
                  <a:pt x="4" y="656"/>
                  <a:pt x="0" y="653"/>
                  <a:pt x="0" y="648"/>
                </a:cubicBezTo>
                <a:lnTo>
                  <a:pt x="0" y="632"/>
                </a:lnTo>
                <a:cubicBezTo>
                  <a:pt x="0" y="628"/>
                  <a:pt x="4" y="624"/>
                  <a:pt x="8" y="624"/>
                </a:cubicBezTo>
                <a:cubicBezTo>
                  <a:pt x="13" y="624"/>
                  <a:pt x="16" y="628"/>
                  <a:pt x="16" y="632"/>
                </a:cubicBezTo>
                <a:close/>
                <a:moveTo>
                  <a:pt x="16" y="680"/>
                </a:moveTo>
                <a:lnTo>
                  <a:pt x="16" y="696"/>
                </a:lnTo>
                <a:cubicBezTo>
                  <a:pt x="16" y="701"/>
                  <a:pt x="13" y="704"/>
                  <a:pt x="8" y="704"/>
                </a:cubicBezTo>
                <a:cubicBezTo>
                  <a:pt x="4" y="704"/>
                  <a:pt x="0" y="701"/>
                  <a:pt x="0" y="696"/>
                </a:cubicBezTo>
                <a:lnTo>
                  <a:pt x="0" y="680"/>
                </a:lnTo>
                <a:cubicBezTo>
                  <a:pt x="0" y="676"/>
                  <a:pt x="4" y="672"/>
                  <a:pt x="8" y="672"/>
                </a:cubicBezTo>
                <a:cubicBezTo>
                  <a:pt x="13" y="672"/>
                  <a:pt x="16" y="676"/>
                  <a:pt x="16" y="680"/>
                </a:cubicBezTo>
                <a:close/>
                <a:moveTo>
                  <a:pt x="16" y="728"/>
                </a:moveTo>
                <a:lnTo>
                  <a:pt x="16" y="744"/>
                </a:lnTo>
                <a:cubicBezTo>
                  <a:pt x="16" y="749"/>
                  <a:pt x="13" y="752"/>
                  <a:pt x="8" y="752"/>
                </a:cubicBezTo>
                <a:cubicBezTo>
                  <a:pt x="4" y="752"/>
                  <a:pt x="0" y="749"/>
                  <a:pt x="0" y="744"/>
                </a:cubicBezTo>
                <a:lnTo>
                  <a:pt x="0" y="728"/>
                </a:lnTo>
                <a:cubicBezTo>
                  <a:pt x="0" y="724"/>
                  <a:pt x="4" y="720"/>
                  <a:pt x="8" y="720"/>
                </a:cubicBezTo>
                <a:cubicBezTo>
                  <a:pt x="13" y="720"/>
                  <a:pt x="16" y="724"/>
                  <a:pt x="16" y="728"/>
                </a:cubicBezTo>
                <a:close/>
                <a:moveTo>
                  <a:pt x="16" y="776"/>
                </a:moveTo>
                <a:lnTo>
                  <a:pt x="16" y="792"/>
                </a:lnTo>
                <a:cubicBezTo>
                  <a:pt x="16" y="797"/>
                  <a:pt x="13" y="800"/>
                  <a:pt x="8" y="800"/>
                </a:cubicBezTo>
                <a:cubicBezTo>
                  <a:pt x="4" y="800"/>
                  <a:pt x="0" y="797"/>
                  <a:pt x="0" y="792"/>
                </a:cubicBezTo>
                <a:lnTo>
                  <a:pt x="0" y="776"/>
                </a:lnTo>
                <a:cubicBezTo>
                  <a:pt x="0" y="772"/>
                  <a:pt x="4" y="768"/>
                  <a:pt x="8" y="768"/>
                </a:cubicBezTo>
                <a:cubicBezTo>
                  <a:pt x="13" y="768"/>
                  <a:pt x="16" y="772"/>
                  <a:pt x="16" y="776"/>
                </a:cubicBezTo>
                <a:close/>
                <a:moveTo>
                  <a:pt x="16" y="824"/>
                </a:moveTo>
                <a:lnTo>
                  <a:pt x="16" y="840"/>
                </a:lnTo>
                <a:cubicBezTo>
                  <a:pt x="16" y="845"/>
                  <a:pt x="13" y="848"/>
                  <a:pt x="8" y="848"/>
                </a:cubicBezTo>
                <a:cubicBezTo>
                  <a:pt x="4" y="848"/>
                  <a:pt x="0" y="845"/>
                  <a:pt x="0" y="840"/>
                </a:cubicBezTo>
                <a:lnTo>
                  <a:pt x="0" y="824"/>
                </a:lnTo>
                <a:cubicBezTo>
                  <a:pt x="0" y="820"/>
                  <a:pt x="4" y="816"/>
                  <a:pt x="8" y="816"/>
                </a:cubicBezTo>
                <a:cubicBezTo>
                  <a:pt x="13" y="816"/>
                  <a:pt x="16" y="820"/>
                  <a:pt x="16" y="824"/>
                </a:cubicBezTo>
                <a:close/>
                <a:moveTo>
                  <a:pt x="16" y="872"/>
                </a:moveTo>
                <a:lnTo>
                  <a:pt x="16" y="888"/>
                </a:lnTo>
                <a:cubicBezTo>
                  <a:pt x="16" y="893"/>
                  <a:pt x="13" y="896"/>
                  <a:pt x="8" y="896"/>
                </a:cubicBezTo>
                <a:cubicBezTo>
                  <a:pt x="4" y="896"/>
                  <a:pt x="0" y="893"/>
                  <a:pt x="0" y="888"/>
                </a:cubicBezTo>
                <a:lnTo>
                  <a:pt x="0" y="872"/>
                </a:lnTo>
                <a:cubicBezTo>
                  <a:pt x="0" y="868"/>
                  <a:pt x="4" y="864"/>
                  <a:pt x="8" y="864"/>
                </a:cubicBezTo>
                <a:cubicBezTo>
                  <a:pt x="13" y="864"/>
                  <a:pt x="16" y="868"/>
                  <a:pt x="16" y="872"/>
                </a:cubicBezTo>
                <a:close/>
                <a:moveTo>
                  <a:pt x="16" y="920"/>
                </a:moveTo>
                <a:lnTo>
                  <a:pt x="16" y="936"/>
                </a:lnTo>
                <a:cubicBezTo>
                  <a:pt x="16" y="941"/>
                  <a:pt x="13" y="944"/>
                  <a:pt x="8" y="944"/>
                </a:cubicBezTo>
                <a:cubicBezTo>
                  <a:pt x="4" y="944"/>
                  <a:pt x="0" y="941"/>
                  <a:pt x="0" y="936"/>
                </a:cubicBezTo>
                <a:lnTo>
                  <a:pt x="0" y="920"/>
                </a:lnTo>
                <a:cubicBezTo>
                  <a:pt x="0" y="916"/>
                  <a:pt x="4" y="912"/>
                  <a:pt x="8" y="912"/>
                </a:cubicBezTo>
                <a:cubicBezTo>
                  <a:pt x="13" y="912"/>
                  <a:pt x="16" y="916"/>
                  <a:pt x="16" y="920"/>
                </a:cubicBezTo>
                <a:close/>
                <a:moveTo>
                  <a:pt x="16" y="968"/>
                </a:moveTo>
                <a:lnTo>
                  <a:pt x="16" y="984"/>
                </a:lnTo>
                <a:cubicBezTo>
                  <a:pt x="16" y="989"/>
                  <a:pt x="13" y="992"/>
                  <a:pt x="8" y="992"/>
                </a:cubicBezTo>
                <a:cubicBezTo>
                  <a:pt x="4" y="992"/>
                  <a:pt x="0" y="989"/>
                  <a:pt x="0" y="984"/>
                </a:cubicBezTo>
                <a:lnTo>
                  <a:pt x="0" y="968"/>
                </a:lnTo>
                <a:cubicBezTo>
                  <a:pt x="0" y="964"/>
                  <a:pt x="4" y="960"/>
                  <a:pt x="8" y="960"/>
                </a:cubicBezTo>
                <a:cubicBezTo>
                  <a:pt x="13" y="960"/>
                  <a:pt x="16" y="964"/>
                  <a:pt x="16" y="968"/>
                </a:cubicBezTo>
                <a:close/>
                <a:moveTo>
                  <a:pt x="16" y="1016"/>
                </a:moveTo>
                <a:lnTo>
                  <a:pt x="16" y="1032"/>
                </a:lnTo>
                <a:cubicBezTo>
                  <a:pt x="16" y="1037"/>
                  <a:pt x="13" y="1040"/>
                  <a:pt x="8" y="1040"/>
                </a:cubicBezTo>
                <a:cubicBezTo>
                  <a:pt x="4" y="1040"/>
                  <a:pt x="0" y="1037"/>
                  <a:pt x="0" y="1032"/>
                </a:cubicBezTo>
                <a:lnTo>
                  <a:pt x="0" y="1016"/>
                </a:lnTo>
                <a:cubicBezTo>
                  <a:pt x="0" y="1012"/>
                  <a:pt x="4" y="1008"/>
                  <a:pt x="8" y="1008"/>
                </a:cubicBezTo>
                <a:cubicBezTo>
                  <a:pt x="13" y="1008"/>
                  <a:pt x="16" y="1012"/>
                  <a:pt x="16" y="1016"/>
                </a:cubicBezTo>
                <a:close/>
                <a:moveTo>
                  <a:pt x="16" y="1064"/>
                </a:moveTo>
                <a:lnTo>
                  <a:pt x="16" y="1080"/>
                </a:lnTo>
                <a:cubicBezTo>
                  <a:pt x="16" y="1085"/>
                  <a:pt x="13" y="1088"/>
                  <a:pt x="8" y="1088"/>
                </a:cubicBezTo>
                <a:cubicBezTo>
                  <a:pt x="4" y="1088"/>
                  <a:pt x="0" y="1085"/>
                  <a:pt x="0" y="1080"/>
                </a:cubicBezTo>
                <a:lnTo>
                  <a:pt x="0" y="1064"/>
                </a:lnTo>
                <a:cubicBezTo>
                  <a:pt x="0" y="1060"/>
                  <a:pt x="4" y="1056"/>
                  <a:pt x="8" y="1056"/>
                </a:cubicBezTo>
                <a:cubicBezTo>
                  <a:pt x="13" y="1056"/>
                  <a:pt x="16" y="1060"/>
                  <a:pt x="16" y="1064"/>
                </a:cubicBezTo>
                <a:close/>
                <a:moveTo>
                  <a:pt x="16" y="1112"/>
                </a:moveTo>
                <a:lnTo>
                  <a:pt x="16" y="1128"/>
                </a:lnTo>
                <a:cubicBezTo>
                  <a:pt x="16" y="1133"/>
                  <a:pt x="13" y="1136"/>
                  <a:pt x="8" y="1136"/>
                </a:cubicBezTo>
                <a:cubicBezTo>
                  <a:pt x="4" y="1136"/>
                  <a:pt x="0" y="1133"/>
                  <a:pt x="0" y="1128"/>
                </a:cubicBezTo>
                <a:lnTo>
                  <a:pt x="0" y="1112"/>
                </a:lnTo>
                <a:cubicBezTo>
                  <a:pt x="0" y="1108"/>
                  <a:pt x="4" y="1104"/>
                  <a:pt x="8" y="1104"/>
                </a:cubicBezTo>
                <a:cubicBezTo>
                  <a:pt x="13" y="1104"/>
                  <a:pt x="16" y="1108"/>
                  <a:pt x="16" y="1112"/>
                </a:cubicBezTo>
                <a:close/>
                <a:moveTo>
                  <a:pt x="16" y="1160"/>
                </a:moveTo>
                <a:lnTo>
                  <a:pt x="16" y="1176"/>
                </a:lnTo>
                <a:cubicBezTo>
                  <a:pt x="16" y="1181"/>
                  <a:pt x="13" y="1184"/>
                  <a:pt x="8" y="1184"/>
                </a:cubicBezTo>
                <a:cubicBezTo>
                  <a:pt x="4" y="1184"/>
                  <a:pt x="0" y="1181"/>
                  <a:pt x="0" y="1176"/>
                </a:cubicBezTo>
                <a:lnTo>
                  <a:pt x="0" y="1160"/>
                </a:lnTo>
                <a:cubicBezTo>
                  <a:pt x="0" y="1156"/>
                  <a:pt x="4" y="1152"/>
                  <a:pt x="8" y="1152"/>
                </a:cubicBezTo>
                <a:cubicBezTo>
                  <a:pt x="13" y="1152"/>
                  <a:pt x="16" y="1156"/>
                  <a:pt x="16" y="1160"/>
                </a:cubicBezTo>
                <a:close/>
                <a:moveTo>
                  <a:pt x="16" y="1208"/>
                </a:moveTo>
                <a:lnTo>
                  <a:pt x="16" y="1224"/>
                </a:lnTo>
                <a:cubicBezTo>
                  <a:pt x="16" y="1229"/>
                  <a:pt x="13" y="1232"/>
                  <a:pt x="8" y="1232"/>
                </a:cubicBezTo>
                <a:cubicBezTo>
                  <a:pt x="4" y="1232"/>
                  <a:pt x="0" y="1229"/>
                  <a:pt x="0" y="1224"/>
                </a:cubicBezTo>
                <a:lnTo>
                  <a:pt x="0" y="1208"/>
                </a:lnTo>
                <a:cubicBezTo>
                  <a:pt x="0" y="1204"/>
                  <a:pt x="4" y="1200"/>
                  <a:pt x="8" y="1200"/>
                </a:cubicBezTo>
                <a:cubicBezTo>
                  <a:pt x="13" y="1200"/>
                  <a:pt x="16" y="1204"/>
                  <a:pt x="16" y="1208"/>
                </a:cubicBezTo>
                <a:close/>
                <a:moveTo>
                  <a:pt x="16" y="1256"/>
                </a:moveTo>
                <a:lnTo>
                  <a:pt x="16" y="1272"/>
                </a:lnTo>
                <a:cubicBezTo>
                  <a:pt x="16" y="1277"/>
                  <a:pt x="13" y="1280"/>
                  <a:pt x="8" y="1280"/>
                </a:cubicBezTo>
                <a:cubicBezTo>
                  <a:pt x="4" y="1280"/>
                  <a:pt x="0" y="1277"/>
                  <a:pt x="0" y="1272"/>
                </a:cubicBezTo>
                <a:lnTo>
                  <a:pt x="0" y="1256"/>
                </a:lnTo>
                <a:cubicBezTo>
                  <a:pt x="0" y="1252"/>
                  <a:pt x="4" y="1248"/>
                  <a:pt x="8" y="1248"/>
                </a:cubicBezTo>
                <a:cubicBezTo>
                  <a:pt x="13" y="1248"/>
                  <a:pt x="16" y="1252"/>
                  <a:pt x="16" y="1256"/>
                </a:cubicBezTo>
                <a:close/>
                <a:moveTo>
                  <a:pt x="16" y="1304"/>
                </a:moveTo>
                <a:lnTo>
                  <a:pt x="16" y="1320"/>
                </a:lnTo>
                <a:cubicBezTo>
                  <a:pt x="16" y="1325"/>
                  <a:pt x="13" y="1328"/>
                  <a:pt x="8" y="1328"/>
                </a:cubicBezTo>
                <a:cubicBezTo>
                  <a:pt x="4" y="1328"/>
                  <a:pt x="0" y="1325"/>
                  <a:pt x="0" y="1320"/>
                </a:cubicBezTo>
                <a:lnTo>
                  <a:pt x="0" y="1304"/>
                </a:lnTo>
                <a:cubicBezTo>
                  <a:pt x="0" y="1300"/>
                  <a:pt x="4" y="1296"/>
                  <a:pt x="8" y="1296"/>
                </a:cubicBezTo>
                <a:cubicBezTo>
                  <a:pt x="13" y="1296"/>
                  <a:pt x="16" y="1300"/>
                  <a:pt x="16" y="1304"/>
                </a:cubicBezTo>
                <a:close/>
                <a:moveTo>
                  <a:pt x="16" y="1352"/>
                </a:moveTo>
                <a:lnTo>
                  <a:pt x="16" y="1368"/>
                </a:lnTo>
                <a:cubicBezTo>
                  <a:pt x="16" y="1373"/>
                  <a:pt x="13" y="1376"/>
                  <a:pt x="8" y="1376"/>
                </a:cubicBezTo>
                <a:cubicBezTo>
                  <a:pt x="4" y="1376"/>
                  <a:pt x="0" y="1373"/>
                  <a:pt x="0" y="1368"/>
                </a:cubicBezTo>
                <a:lnTo>
                  <a:pt x="0" y="1352"/>
                </a:lnTo>
                <a:cubicBezTo>
                  <a:pt x="0" y="1348"/>
                  <a:pt x="4" y="1344"/>
                  <a:pt x="8" y="1344"/>
                </a:cubicBezTo>
                <a:cubicBezTo>
                  <a:pt x="13" y="1344"/>
                  <a:pt x="16" y="1348"/>
                  <a:pt x="16" y="1352"/>
                </a:cubicBezTo>
                <a:close/>
                <a:moveTo>
                  <a:pt x="16" y="1400"/>
                </a:moveTo>
                <a:lnTo>
                  <a:pt x="16" y="1416"/>
                </a:lnTo>
                <a:cubicBezTo>
                  <a:pt x="16" y="1421"/>
                  <a:pt x="13" y="1424"/>
                  <a:pt x="8" y="1424"/>
                </a:cubicBezTo>
                <a:cubicBezTo>
                  <a:pt x="4" y="1424"/>
                  <a:pt x="0" y="1421"/>
                  <a:pt x="0" y="1416"/>
                </a:cubicBezTo>
                <a:lnTo>
                  <a:pt x="0" y="1400"/>
                </a:lnTo>
                <a:cubicBezTo>
                  <a:pt x="0" y="1396"/>
                  <a:pt x="4" y="1392"/>
                  <a:pt x="8" y="1392"/>
                </a:cubicBezTo>
                <a:cubicBezTo>
                  <a:pt x="13" y="1392"/>
                  <a:pt x="16" y="1396"/>
                  <a:pt x="16" y="1400"/>
                </a:cubicBezTo>
                <a:close/>
                <a:moveTo>
                  <a:pt x="16" y="1448"/>
                </a:moveTo>
                <a:lnTo>
                  <a:pt x="16" y="1464"/>
                </a:lnTo>
                <a:cubicBezTo>
                  <a:pt x="16" y="1469"/>
                  <a:pt x="13" y="1472"/>
                  <a:pt x="8" y="1472"/>
                </a:cubicBezTo>
                <a:cubicBezTo>
                  <a:pt x="4" y="1472"/>
                  <a:pt x="0" y="1469"/>
                  <a:pt x="0" y="1464"/>
                </a:cubicBezTo>
                <a:lnTo>
                  <a:pt x="0" y="1448"/>
                </a:lnTo>
                <a:cubicBezTo>
                  <a:pt x="0" y="1444"/>
                  <a:pt x="4" y="1440"/>
                  <a:pt x="8" y="1440"/>
                </a:cubicBezTo>
                <a:cubicBezTo>
                  <a:pt x="13" y="1440"/>
                  <a:pt x="16" y="1444"/>
                  <a:pt x="16" y="1448"/>
                </a:cubicBezTo>
                <a:close/>
                <a:moveTo>
                  <a:pt x="16" y="1496"/>
                </a:moveTo>
                <a:lnTo>
                  <a:pt x="16" y="1512"/>
                </a:lnTo>
                <a:cubicBezTo>
                  <a:pt x="16" y="1517"/>
                  <a:pt x="13" y="1520"/>
                  <a:pt x="8" y="1520"/>
                </a:cubicBezTo>
                <a:cubicBezTo>
                  <a:pt x="4" y="1520"/>
                  <a:pt x="0" y="1517"/>
                  <a:pt x="0" y="1512"/>
                </a:cubicBezTo>
                <a:lnTo>
                  <a:pt x="0" y="1496"/>
                </a:lnTo>
                <a:cubicBezTo>
                  <a:pt x="0" y="1492"/>
                  <a:pt x="4" y="1488"/>
                  <a:pt x="8" y="1488"/>
                </a:cubicBezTo>
                <a:cubicBezTo>
                  <a:pt x="13" y="1488"/>
                  <a:pt x="16" y="1492"/>
                  <a:pt x="16" y="1496"/>
                </a:cubicBezTo>
                <a:close/>
                <a:moveTo>
                  <a:pt x="16" y="1544"/>
                </a:moveTo>
                <a:lnTo>
                  <a:pt x="16" y="1560"/>
                </a:lnTo>
                <a:cubicBezTo>
                  <a:pt x="16" y="1565"/>
                  <a:pt x="13" y="1568"/>
                  <a:pt x="8" y="1568"/>
                </a:cubicBezTo>
                <a:cubicBezTo>
                  <a:pt x="4" y="1568"/>
                  <a:pt x="0" y="1565"/>
                  <a:pt x="0" y="1560"/>
                </a:cubicBezTo>
                <a:lnTo>
                  <a:pt x="0" y="1544"/>
                </a:lnTo>
                <a:cubicBezTo>
                  <a:pt x="0" y="1540"/>
                  <a:pt x="4" y="1536"/>
                  <a:pt x="8" y="1536"/>
                </a:cubicBezTo>
                <a:cubicBezTo>
                  <a:pt x="13" y="1536"/>
                  <a:pt x="16" y="1540"/>
                  <a:pt x="16" y="1544"/>
                </a:cubicBezTo>
                <a:close/>
                <a:moveTo>
                  <a:pt x="16" y="1592"/>
                </a:moveTo>
                <a:lnTo>
                  <a:pt x="16" y="1608"/>
                </a:lnTo>
                <a:cubicBezTo>
                  <a:pt x="16" y="1613"/>
                  <a:pt x="13" y="1616"/>
                  <a:pt x="8" y="1616"/>
                </a:cubicBezTo>
                <a:cubicBezTo>
                  <a:pt x="4" y="1616"/>
                  <a:pt x="0" y="1613"/>
                  <a:pt x="0" y="1608"/>
                </a:cubicBezTo>
                <a:lnTo>
                  <a:pt x="0" y="1592"/>
                </a:lnTo>
                <a:cubicBezTo>
                  <a:pt x="0" y="1588"/>
                  <a:pt x="4" y="1584"/>
                  <a:pt x="8" y="1584"/>
                </a:cubicBezTo>
                <a:cubicBezTo>
                  <a:pt x="13" y="1584"/>
                  <a:pt x="16" y="1588"/>
                  <a:pt x="16" y="1592"/>
                </a:cubicBezTo>
                <a:close/>
              </a:path>
            </a:pathLst>
          </a:custGeom>
          <a:solidFill>
            <a:srgbClr val="7F7F7F"/>
          </a:solidFill>
          <a:ln w="1588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D5261C01-BFF6-4E53-8C87-6CDB011FC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7713" y="5351463"/>
            <a:ext cx="1304925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15 years 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06548F3B-809A-4B35-9899-32BF8A13621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99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431"/>
    </mc:Choice>
    <mc:Fallback xmlns="">
      <p:transition spd="slow" advTm="394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71058-99BF-4C72-AFB5-F94DF26E5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ojourn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AC6C0D4-5913-4FC0-9DB9-6C81068EF5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39199" y="4000499"/>
            <a:ext cx="3095625" cy="2492375"/>
          </a:xfrm>
        </p:spPr>
        <p:txBody>
          <a:bodyPr>
            <a:normAutofit/>
          </a:bodyPr>
          <a:lstStyle/>
          <a:p>
            <a:r>
              <a:rPr lang="en-US" sz="1800" dirty="0"/>
              <a:t>Both the old chronology (long sojourn) and the new chronology (short sojourn) place Joseph in the late 12</a:t>
            </a:r>
            <a:r>
              <a:rPr lang="en-US" sz="1800" baseline="30000" dirty="0"/>
              <a:t>th</a:t>
            </a:r>
            <a:r>
              <a:rPr lang="en-US" sz="1800" dirty="0"/>
              <a:t> Dynasty</a:t>
            </a:r>
          </a:p>
          <a:p>
            <a:r>
              <a:rPr lang="en-US" sz="1800" dirty="0"/>
              <a:t>The archaeological evidence places Joseph in the period of Senusret III and Amenemhat II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2E24AF-7336-41B6-AE0B-C016CC2FF7CF}"/>
              </a:ext>
            </a:extLst>
          </p:cNvPr>
          <p:cNvSpPr txBox="1"/>
          <p:nvPr/>
        </p:nvSpPr>
        <p:spPr>
          <a:xfrm>
            <a:off x="5257800" y="921351"/>
            <a:ext cx="1664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ld Chronolo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1DF20D-BCA6-41E7-B761-56F5F8EEE170}"/>
              </a:ext>
            </a:extLst>
          </p:cNvPr>
          <p:cNvSpPr txBox="1"/>
          <p:nvPr/>
        </p:nvSpPr>
        <p:spPr>
          <a:xfrm>
            <a:off x="5257799" y="6462667"/>
            <a:ext cx="1767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Chronolog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EABA7C-5A02-4638-A0F6-F703CE7D98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88051"/>
            <a:ext cx="12192000" cy="5415348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FE65A536-C7CB-47B2-9628-1A2BB40EDED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91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2576"/>
    </mc:Choice>
    <mc:Fallback xmlns="">
      <p:transition spd="slow" advTm="16257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38E2FC-6B2F-45E8-8611-A1E2DFCE4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D13B0F-3759-41EC-B949-2EDE13E46B1D}"/>
              </a:ext>
            </a:extLst>
          </p:cNvPr>
          <p:cNvSpPr/>
          <p:nvPr/>
        </p:nvSpPr>
        <p:spPr>
          <a:xfrm>
            <a:off x="3512118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B410780-EAC2-4486-A7F4-603AB7EF6449}"/>
              </a:ext>
            </a:extLst>
          </p:cNvPr>
          <p:cNvSpPr/>
          <p:nvPr/>
        </p:nvSpPr>
        <p:spPr>
          <a:xfrm>
            <a:off x="3867150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A2F5BDA-AD46-43FE-9CC9-6CE8B6389135}"/>
              </a:ext>
            </a:extLst>
          </p:cNvPr>
          <p:cNvSpPr/>
          <p:nvPr/>
        </p:nvSpPr>
        <p:spPr>
          <a:xfrm>
            <a:off x="4222182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0FF3C0-DA99-4C2A-9C7D-F3E8681F12F6}"/>
              </a:ext>
            </a:extLst>
          </p:cNvPr>
          <p:cNvSpPr/>
          <p:nvPr/>
        </p:nvSpPr>
        <p:spPr>
          <a:xfrm>
            <a:off x="4577214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53CBA9-0EFF-4C8A-9875-99DED240C216}"/>
              </a:ext>
            </a:extLst>
          </p:cNvPr>
          <p:cNvSpPr/>
          <p:nvPr/>
        </p:nvSpPr>
        <p:spPr>
          <a:xfrm>
            <a:off x="4932246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2116FB-7479-4915-B9B9-7841773D5F25}"/>
              </a:ext>
            </a:extLst>
          </p:cNvPr>
          <p:cNvSpPr/>
          <p:nvPr/>
        </p:nvSpPr>
        <p:spPr>
          <a:xfrm>
            <a:off x="5287278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77CA5D-B72C-45AD-A468-33314DD86016}"/>
              </a:ext>
            </a:extLst>
          </p:cNvPr>
          <p:cNvSpPr/>
          <p:nvPr/>
        </p:nvSpPr>
        <p:spPr>
          <a:xfrm>
            <a:off x="5642310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6B87CA-F543-468F-B747-9C72AFB6AEDF}"/>
              </a:ext>
            </a:extLst>
          </p:cNvPr>
          <p:cNvSpPr/>
          <p:nvPr/>
        </p:nvSpPr>
        <p:spPr>
          <a:xfrm>
            <a:off x="5997342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A9D1A2-9680-495B-B121-46D1BE0F59E4}"/>
              </a:ext>
            </a:extLst>
          </p:cNvPr>
          <p:cNvSpPr/>
          <p:nvPr/>
        </p:nvSpPr>
        <p:spPr>
          <a:xfrm>
            <a:off x="6352374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3414356-C98D-4351-92B6-844E1EB87C94}"/>
              </a:ext>
            </a:extLst>
          </p:cNvPr>
          <p:cNvSpPr/>
          <p:nvPr/>
        </p:nvSpPr>
        <p:spPr>
          <a:xfrm>
            <a:off x="6707406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18941F-0A79-476F-8373-A85D5638CF26}"/>
              </a:ext>
            </a:extLst>
          </p:cNvPr>
          <p:cNvSpPr/>
          <p:nvPr/>
        </p:nvSpPr>
        <p:spPr>
          <a:xfrm>
            <a:off x="7062438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5A99BB0-BB3F-4E9F-9180-0FDF48C54029}"/>
              </a:ext>
            </a:extLst>
          </p:cNvPr>
          <p:cNvSpPr/>
          <p:nvPr/>
        </p:nvSpPr>
        <p:spPr>
          <a:xfrm>
            <a:off x="7417470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107B85-3A3E-4C69-AAB4-8C8919D6B60C}"/>
              </a:ext>
            </a:extLst>
          </p:cNvPr>
          <p:cNvSpPr/>
          <p:nvPr/>
        </p:nvSpPr>
        <p:spPr>
          <a:xfrm>
            <a:off x="7772502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3394FE-3F2A-4F93-8029-AA14DE861D5D}"/>
              </a:ext>
            </a:extLst>
          </p:cNvPr>
          <p:cNvSpPr/>
          <p:nvPr/>
        </p:nvSpPr>
        <p:spPr>
          <a:xfrm>
            <a:off x="8127534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FE2B59C-78DD-4CEB-9CEB-CF2833BBF30D}"/>
              </a:ext>
            </a:extLst>
          </p:cNvPr>
          <p:cNvSpPr/>
          <p:nvPr/>
        </p:nvSpPr>
        <p:spPr>
          <a:xfrm>
            <a:off x="8482566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923AB60-B61C-48AB-866B-003B4B3FEA89}"/>
              </a:ext>
            </a:extLst>
          </p:cNvPr>
          <p:cNvSpPr/>
          <p:nvPr/>
        </p:nvSpPr>
        <p:spPr>
          <a:xfrm>
            <a:off x="8837598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23F66C-CFF4-484F-B016-3E5AA2C1769E}"/>
              </a:ext>
            </a:extLst>
          </p:cNvPr>
          <p:cNvSpPr/>
          <p:nvPr/>
        </p:nvSpPr>
        <p:spPr>
          <a:xfrm>
            <a:off x="9192630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BE5DB7-6B64-4F43-A2A6-EA9202C0F680}"/>
              </a:ext>
            </a:extLst>
          </p:cNvPr>
          <p:cNvSpPr/>
          <p:nvPr/>
        </p:nvSpPr>
        <p:spPr>
          <a:xfrm>
            <a:off x="9547662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E123BBB-58B8-4411-AB6B-B7BE93818D38}"/>
              </a:ext>
            </a:extLst>
          </p:cNvPr>
          <p:cNvSpPr/>
          <p:nvPr/>
        </p:nvSpPr>
        <p:spPr>
          <a:xfrm>
            <a:off x="9902694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801746F-687B-4182-80E0-4738B5D42724}"/>
              </a:ext>
            </a:extLst>
          </p:cNvPr>
          <p:cNvSpPr/>
          <p:nvPr/>
        </p:nvSpPr>
        <p:spPr>
          <a:xfrm>
            <a:off x="10257726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FA5E712-70B9-4772-BFEA-245B0451D561}"/>
              </a:ext>
            </a:extLst>
          </p:cNvPr>
          <p:cNvSpPr txBox="1"/>
          <p:nvPr/>
        </p:nvSpPr>
        <p:spPr>
          <a:xfrm>
            <a:off x="10332873" y="1156871"/>
            <a:ext cx="5597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1 B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0994B26-4BA8-45F9-A908-69091E3009E5}"/>
              </a:ext>
            </a:extLst>
          </p:cNvPr>
          <p:cNvSpPr txBox="1"/>
          <p:nvPr/>
        </p:nvSpPr>
        <p:spPr>
          <a:xfrm>
            <a:off x="8482566" y="1156871"/>
            <a:ext cx="7681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500 BC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0EBAB78-AA85-4ECE-82D7-505763D64743}"/>
              </a:ext>
            </a:extLst>
          </p:cNvPr>
          <p:cNvSpPr txBox="1"/>
          <p:nvPr/>
        </p:nvSpPr>
        <p:spPr>
          <a:xfrm>
            <a:off x="6641486" y="1156871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1000 B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0ED116-66F0-4C50-8D4D-EBAC2AB5CCA2}"/>
              </a:ext>
            </a:extLst>
          </p:cNvPr>
          <p:cNvSpPr txBox="1"/>
          <p:nvPr/>
        </p:nvSpPr>
        <p:spPr>
          <a:xfrm>
            <a:off x="4845102" y="1156871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1500 B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786DB3-3A8A-474D-BC15-C32A56805275}"/>
              </a:ext>
            </a:extLst>
          </p:cNvPr>
          <p:cNvSpPr txBox="1"/>
          <p:nvPr/>
        </p:nvSpPr>
        <p:spPr>
          <a:xfrm>
            <a:off x="3062920" y="1156871"/>
            <a:ext cx="8723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2000 BC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C29ED68-B168-4E4C-ACB0-7430D9D9802A}"/>
              </a:ext>
            </a:extLst>
          </p:cNvPr>
          <p:cNvSpPr/>
          <p:nvPr/>
        </p:nvSpPr>
        <p:spPr>
          <a:xfrm>
            <a:off x="1739798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01C6650-292F-496C-B3CC-A3C294EAD521}"/>
              </a:ext>
            </a:extLst>
          </p:cNvPr>
          <p:cNvSpPr/>
          <p:nvPr/>
        </p:nvSpPr>
        <p:spPr>
          <a:xfrm>
            <a:off x="2094830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5F9A0A-7C33-4B08-8765-6CD84B041DAD}"/>
              </a:ext>
            </a:extLst>
          </p:cNvPr>
          <p:cNvSpPr/>
          <p:nvPr/>
        </p:nvSpPr>
        <p:spPr>
          <a:xfrm>
            <a:off x="2449862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877239-E24A-4824-8375-F08E514E3780}"/>
              </a:ext>
            </a:extLst>
          </p:cNvPr>
          <p:cNvSpPr/>
          <p:nvPr/>
        </p:nvSpPr>
        <p:spPr>
          <a:xfrm>
            <a:off x="2804894" y="1495425"/>
            <a:ext cx="355032" cy="114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0001FEF-64B0-4F55-BBC2-D745D0C84CFB}"/>
              </a:ext>
            </a:extLst>
          </p:cNvPr>
          <p:cNvSpPr/>
          <p:nvPr/>
        </p:nvSpPr>
        <p:spPr>
          <a:xfrm>
            <a:off x="3159926" y="1495425"/>
            <a:ext cx="355032" cy="1143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8D2F653-EFE4-46E8-B647-452CE72B0C26}"/>
              </a:ext>
            </a:extLst>
          </p:cNvPr>
          <p:cNvGrpSpPr/>
          <p:nvPr/>
        </p:nvGrpSpPr>
        <p:grpSpPr>
          <a:xfrm>
            <a:off x="1077088" y="1807571"/>
            <a:ext cx="3657808" cy="2558347"/>
            <a:chOff x="1077088" y="1807571"/>
            <a:chExt cx="3657808" cy="2558347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B1B94E5-49CB-4C69-AA07-FDFB475F4545}"/>
                </a:ext>
              </a:extLst>
            </p:cNvPr>
            <p:cNvSpPr/>
            <p:nvPr/>
          </p:nvSpPr>
          <p:spPr>
            <a:xfrm>
              <a:off x="2952750" y="2182043"/>
              <a:ext cx="1013910" cy="3048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F220654-744A-4EFA-B87A-C876AD6945D0}"/>
                </a:ext>
              </a:extLst>
            </p:cNvPr>
            <p:cNvSpPr/>
            <p:nvPr/>
          </p:nvSpPr>
          <p:spPr>
            <a:xfrm>
              <a:off x="3720986" y="3668450"/>
              <a:ext cx="1013910" cy="3048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3E76EB3-87D7-4EDC-8121-D63D36FAA9D0}"/>
                </a:ext>
              </a:extLst>
            </p:cNvPr>
            <p:cNvSpPr txBox="1"/>
            <p:nvPr/>
          </p:nvSpPr>
          <p:spPr>
            <a:xfrm>
              <a:off x="2626378" y="1807571"/>
              <a:ext cx="652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2166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9EE3212-50BD-4355-BBF4-B49B2C15CBE8}"/>
                </a:ext>
              </a:extLst>
            </p:cNvPr>
            <p:cNvSpPr txBox="1"/>
            <p:nvPr/>
          </p:nvSpPr>
          <p:spPr>
            <a:xfrm>
              <a:off x="3394614" y="3996586"/>
              <a:ext cx="652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951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7ABA67D-CBC9-493D-BDE5-C614C5DBFED3}"/>
                </a:ext>
              </a:extLst>
            </p:cNvPr>
            <p:cNvSpPr txBox="1"/>
            <p:nvPr/>
          </p:nvSpPr>
          <p:spPr>
            <a:xfrm>
              <a:off x="1077088" y="2149777"/>
              <a:ext cx="17973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Birth of Abraham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0458877-4096-42C3-BA5B-4ECB66677B72}"/>
                </a:ext>
              </a:extLst>
            </p:cNvPr>
            <p:cNvSpPr txBox="1"/>
            <p:nvPr/>
          </p:nvSpPr>
          <p:spPr>
            <a:xfrm>
              <a:off x="1894190" y="3636184"/>
              <a:ext cx="17973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Birth of Abraham</a:t>
              </a: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A3328535-FEA1-4FAD-9096-474FC2F60A82}"/>
              </a:ext>
            </a:extLst>
          </p:cNvPr>
          <p:cNvSpPr txBox="1"/>
          <p:nvPr/>
        </p:nvSpPr>
        <p:spPr>
          <a:xfrm>
            <a:off x="349356" y="2149777"/>
            <a:ext cx="4603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C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80D59F-D9CA-4CA0-BB4D-FA46D370F5A3}"/>
              </a:ext>
            </a:extLst>
          </p:cNvPr>
          <p:cNvSpPr txBox="1"/>
          <p:nvPr/>
        </p:nvSpPr>
        <p:spPr>
          <a:xfrm>
            <a:off x="349356" y="3636184"/>
            <a:ext cx="458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C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7FEFEE5-2413-4F23-921F-0B26185B5307}"/>
              </a:ext>
            </a:extLst>
          </p:cNvPr>
          <p:cNvGrpSpPr/>
          <p:nvPr/>
        </p:nvGrpSpPr>
        <p:grpSpPr>
          <a:xfrm>
            <a:off x="5918098" y="2551375"/>
            <a:ext cx="4694661" cy="2071274"/>
            <a:chOff x="5918098" y="2551375"/>
            <a:chExt cx="4694661" cy="207127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2D64C30-C761-496C-88E1-56DF2AAF7B58}"/>
                </a:ext>
              </a:extLst>
            </p:cNvPr>
            <p:cNvSpPr/>
            <p:nvPr/>
          </p:nvSpPr>
          <p:spPr>
            <a:xfrm>
              <a:off x="8533511" y="2943225"/>
              <a:ext cx="2079248" cy="3048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4F572A4-BF43-4ABB-8D92-0C4FEAA26D69}"/>
                </a:ext>
              </a:extLst>
            </p:cNvPr>
            <p:cNvSpPr txBox="1"/>
            <p:nvPr/>
          </p:nvSpPr>
          <p:spPr>
            <a:xfrm>
              <a:off x="8265648" y="2553109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58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93175BD-9AA6-4FCE-8C00-580AC75291F7}"/>
                </a:ext>
              </a:extLst>
            </p:cNvPr>
            <p:cNvSpPr txBox="1"/>
            <p:nvPr/>
          </p:nvSpPr>
          <p:spPr>
            <a:xfrm>
              <a:off x="7686777" y="3268809"/>
              <a:ext cx="17429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Fall of Jerusalem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730762B-466D-47D3-B15C-B5C23D2AD1EA}"/>
                </a:ext>
              </a:extLst>
            </p:cNvPr>
            <p:cNvSpPr/>
            <p:nvPr/>
          </p:nvSpPr>
          <p:spPr>
            <a:xfrm>
              <a:off x="7210424" y="2943225"/>
              <a:ext cx="1323085" cy="304800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8FE7A10-7425-4CE4-80BD-0FE36D2E4AF5}"/>
                </a:ext>
              </a:extLst>
            </p:cNvPr>
            <p:cNvSpPr txBox="1"/>
            <p:nvPr/>
          </p:nvSpPr>
          <p:spPr>
            <a:xfrm>
              <a:off x="6942562" y="2551375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966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1B21D8F-E760-4D4E-A218-0EB203A40889}"/>
                </a:ext>
              </a:extLst>
            </p:cNvPr>
            <p:cNvSpPr txBox="1"/>
            <p:nvPr/>
          </p:nvSpPr>
          <p:spPr>
            <a:xfrm>
              <a:off x="5918098" y="3587012"/>
              <a:ext cx="260347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Foundation of the Temple</a:t>
              </a:r>
              <a:br>
                <a:rPr lang="en-US" dirty="0"/>
              </a:br>
              <a:r>
                <a:rPr lang="en-US" dirty="0"/>
                <a:t>Year 4 of Solomon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256070D-A6BD-4FE4-A7F3-FF4CF248AA9D}"/>
                </a:ext>
              </a:extLst>
            </p:cNvPr>
            <p:cNvCxnSpPr>
              <a:endCxn id="39" idx="0"/>
            </p:cNvCxnSpPr>
            <p:nvPr/>
          </p:nvCxnSpPr>
          <p:spPr>
            <a:xfrm>
              <a:off x="7219833" y="3248025"/>
              <a:ext cx="0" cy="338987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3B302C6D-2795-4DAE-B967-E30A22DA8610}"/>
                </a:ext>
              </a:extLst>
            </p:cNvPr>
            <p:cNvSpPr txBox="1"/>
            <p:nvPr/>
          </p:nvSpPr>
          <p:spPr>
            <a:xfrm>
              <a:off x="6217292" y="4253317"/>
              <a:ext cx="35141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6. When did the Hebrew Kings live?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F258CF1-4310-4EE8-97E0-BB194B31FBF9}"/>
              </a:ext>
            </a:extLst>
          </p:cNvPr>
          <p:cNvGrpSpPr/>
          <p:nvPr/>
        </p:nvGrpSpPr>
        <p:grpSpPr>
          <a:xfrm>
            <a:off x="4845102" y="2943225"/>
            <a:ext cx="2986395" cy="2007632"/>
            <a:chOff x="4845102" y="2943225"/>
            <a:chExt cx="2986395" cy="2007632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EDDB8B4-C363-49AC-A43E-7FE9D953C76C}"/>
                </a:ext>
              </a:extLst>
            </p:cNvPr>
            <p:cNvSpPr/>
            <p:nvPr/>
          </p:nvSpPr>
          <p:spPr>
            <a:xfrm>
              <a:off x="5505450" y="2943225"/>
              <a:ext cx="1695549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AED8F8F-E0A1-4045-97F4-60400BF0D3D3}"/>
                </a:ext>
              </a:extLst>
            </p:cNvPr>
            <p:cNvSpPr txBox="1"/>
            <p:nvPr/>
          </p:nvSpPr>
          <p:spPr>
            <a:xfrm>
              <a:off x="4845102" y="4581525"/>
              <a:ext cx="29863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5. When did the Judges rule?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A9D9139-15B5-403E-AE43-D5DE1E8A408F}"/>
              </a:ext>
            </a:extLst>
          </p:cNvPr>
          <p:cNvGrpSpPr/>
          <p:nvPr/>
        </p:nvGrpSpPr>
        <p:grpSpPr>
          <a:xfrm>
            <a:off x="4192635" y="2551375"/>
            <a:ext cx="2580386" cy="2755375"/>
            <a:chOff x="4192635" y="2551375"/>
            <a:chExt cx="2580386" cy="2755375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EA6418D-178E-4A21-AB1A-F3F9F0C558E7}"/>
                </a:ext>
              </a:extLst>
            </p:cNvPr>
            <p:cNvSpPr txBox="1"/>
            <p:nvPr/>
          </p:nvSpPr>
          <p:spPr>
            <a:xfrm>
              <a:off x="5179078" y="2551375"/>
              <a:ext cx="652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446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AF1D849-9B0C-40BA-B43C-01274BAEE344}"/>
                </a:ext>
              </a:extLst>
            </p:cNvPr>
            <p:cNvSpPr txBox="1"/>
            <p:nvPr/>
          </p:nvSpPr>
          <p:spPr>
            <a:xfrm>
              <a:off x="5095720" y="3248025"/>
              <a:ext cx="8452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Exodus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50CD87-21B4-43C1-BC8C-20FE8C783245}"/>
                </a:ext>
              </a:extLst>
            </p:cNvPr>
            <p:cNvSpPr txBox="1"/>
            <p:nvPr/>
          </p:nvSpPr>
          <p:spPr>
            <a:xfrm>
              <a:off x="4192635" y="4937418"/>
              <a:ext cx="25803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4. When was the Exodus?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1CAA2F8A-A0BC-4187-A45A-47B694A5243A}"/>
              </a:ext>
            </a:extLst>
          </p:cNvPr>
          <p:cNvGrpSpPr/>
          <p:nvPr/>
        </p:nvGrpSpPr>
        <p:grpSpPr>
          <a:xfrm>
            <a:off x="3151486" y="1807571"/>
            <a:ext cx="3148469" cy="3860800"/>
            <a:chOff x="3151486" y="1807571"/>
            <a:chExt cx="3148469" cy="386080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74420D8-1AB6-4C6A-95F7-4F59656895A3}"/>
                </a:ext>
              </a:extLst>
            </p:cNvPr>
            <p:cNvSpPr/>
            <p:nvPr/>
          </p:nvSpPr>
          <p:spPr>
            <a:xfrm>
              <a:off x="3933825" y="2182043"/>
              <a:ext cx="1571624" cy="3048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AC9FBB6F-1DC7-48E7-B998-FB7C351626CF}"/>
                </a:ext>
              </a:extLst>
            </p:cNvPr>
            <p:cNvSpPr/>
            <p:nvPr/>
          </p:nvSpPr>
          <p:spPr>
            <a:xfrm>
              <a:off x="4743449" y="3668450"/>
              <a:ext cx="761999" cy="30480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9BD99AC4-712D-43BF-BBEC-3E175C61CBD8}"/>
                </a:ext>
              </a:extLst>
            </p:cNvPr>
            <p:cNvCxnSpPr>
              <a:cxnSpLocks/>
            </p:cNvCxnSpPr>
            <p:nvPr/>
          </p:nvCxnSpPr>
          <p:spPr>
            <a:xfrm>
              <a:off x="3976068" y="2486843"/>
              <a:ext cx="767381" cy="119113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B9F2811C-0719-45BC-AF11-F8C22E399EB9}"/>
                </a:ext>
              </a:extLst>
            </p:cNvPr>
            <p:cNvSpPr txBox="1"/>
            <p:nvPr/>
          </p:nvSpPr>
          <p:spPr>
            <a:xfrm>
              <a:off x="3644993" y="1807571"/>
              <a:ext cx="652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876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BEF3BD5-6A03-4695-AE5B-1D461B92EDB8}"/>
                </a:ext>
              </a:extLst>
            </p:cNvPr>
            <p:cNvSpPr txBox="1"/>
            <p:nvPr/>
          </p:nvSpPr>
          <p:spPr>
            <a:xfrm>
              <a:off x="4417077" y="3996586"/>
              <a:ext cx="6527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661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55A4FA1-40C1-4D0A-8A7C-555B5BA9908A}"/>
                </a:ext>
              </a:extLst>
            </p:cNvPr>
            <p:cNvSpPr txBox="1"/>
            <p:nvPr/>
          </p:nvSpPr>
          <p:spPr>
            <a:xfrm>
              <a:off x="3151486" y="2899477"/>
              <a:ext cx="21960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Jacob arrives in Egypt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CDC46A7-194C-4279-8BAE-C474BB9C1106}"/>
                </a:ext>
              </a:extLst>
            </p:cNvPr>
            <p:cNvSpPr txBox="1"/>
            <p:nvPr/>
          </p:nvSpPr>
          <p:spPr>
            <a:xfrm>
              <a:off x="3299197" y="5299039"/>
              <a:ext cx="30007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3. When was Joseph in Egypt?</a:t>
              </a:r>
            </a:p>
          </p:txBody>
        </p:sp>
      </p:grpSp>
      <p:pic>
        <p:nvPicPr>
          <p:cNvPr id="70" name="Audio 69">
            <a:hlinkClick r:id="" action="ppaction://media"/>
            <a:extLst>
              <a:ext uri="{FF2B5EF4-FFF2-40B4-BE49-F238E27FC236}">
                <a16:creationId xmlns:a16="http://schemas.microsoft.com/office/drawing/2014/main" id="{20951597-DC03-47D9-84A0-17305255D3B1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8259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8199"/>
    </mc:Choice>
    <mc:Fallback xmlns="">
      <p:transition spd="slow" advTm="881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0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75961-1450-4CC5-928A-E8D294CCE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ons in the Masoretic and Septuagin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51D3CAD-50E3-44E1-B482-914CA83F2C2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3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2229">
                  <a:extLst>
                    <a:ext uri="{9D8B030D-6E8A-4147-A177-3AD203B41FA5}">
                      <a16:colId xmlns:a16="http://schemas.microsoft.com/office/drawing/2014/main" val="2067802374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1678318591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3389258901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282712941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113002871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1030404883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23814444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otal 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laps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en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otal 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lap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3348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h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879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Arphaxa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1486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ala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5234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55359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le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5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6216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6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0765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Seru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22848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Nah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8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1660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Tera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3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2591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brah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11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01289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D0BCA30-B958-4EB9-A25B-C9A04FFE6ACA}"/>
              </a:ext>
            </a:extLst>
          </p:cNvPr>
          <p:cNvSpPr/>
          <p:nvPr/>
        </p:nvSpPr>
        <p:spPr>
          <a:xfrm>
            <a:off x="2346157" y="1503947"/>
            <a:ext cx="4487779" cy="3216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asoret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C7ECE8-7F2E-4A01-BAD7-ED0648FE3631}"/>
              </a:ext>
            </a:extLst>
          </p:cNvPr>
          <p:cNvSpPr/>
          <p:nvPr/>
        </p:nvSpPr>
        <p:spPr>
          <a:xfrm>
            <a:off x="6833936" y="1500354"/>
            <a:ext cx="4487779" cy="321678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eptuagi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A6C748-16F8-42EA-9515-9C548FB8F9EC}"/>
              </a:ext>
            </a:extLst>
          </p:cNvPr>
          <p:cNvSpPr txBox="1"/>
          <p:nvPr/>
        </p:nvSpPr>
        <p:spPr>
          <a:xfrm>
            <a:off x="838200" y="6436895"/>
            <a:ext cx="83278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*Years after the flood. Shem was 100 when </a:t>
            </a:r>
            <a:r>
              <a:rPr lang="en-US" sz="1600" dirty="0" err="1"/>
              <a:t>Arphaxad</a:t>
            </a:r>
            <a:r>
              <a:rPr lang="en-US" sz="1600" dirty="0"/>
              <a:t> was born and lived 500 years after the flo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E0F6BB-FA8F-468D-8416-D31348924511}"/>
              </a:ext>
            </a:extLst>
          </p:cNvPr>
          <p:cNvSpPr txBox="1"/>
          <p:nvPr/>
        </p:nvSpPr>
        <p:spPr>
          <a:xfrm>
            <a:off x="6271772" y="5904865"/>
            <a:ext cx="5741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44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3BC2F0-AABF-4C96-A6CC-C1B8BAE4CFAC}"/>
              </a:ext>
            </a:extLst>
          </p:cNvPr>
          <p:cNvSpPr txBox="1"/>
          <p:nvPr/>
        </p:nvSpPr>
        <p:spPr>
          <a:xfrm>
            <a:off x="10649761" y="5904865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110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6FBA8E-4B09-413B-9BCF-A830D3E82291}"/>
              </a:ext>
            </a:extLst>
          </p:cNvPr>
          <p:cNvSpPr txBox="1"/>
          <p:nvPr/>
        </p:nvSpPr>
        <p:spPr>
          <a:xfrm>
            <a:off x="7427919" y="5904865"/>
            <a:ext cx="2639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Difference of 658 years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7945D37B-297A-4604-A123-B274C93D0FE5}"/>
              </a:ext>
            </a:extLst>
          </p:cNvPr>
          <p:cNvSpPr/>
          <p:nvPr/>
        </p:nvSpPr>
        <p:spPr>
          <a:xfrm>
            <a:off x="10031713" y="6021386"/>
            <a:ext cx="568802" cy="205157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1385B64C-7A08-45E9-A255-E38355638DC3}"/>
              </a:ext>
            </a:extLst>
          </p:cNvPr>
          <p:cNvSpPr/>
          <p:nvPr/>
        </p:nvSpPr>
        <p:spPr>
          <a:xfrm flipH="1">
            <a:off x="6895213" y="6016056"/>
            <a:ext cx="574196" cy="210487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5BA12BB-29D3-4618-8414-44683747A333}"/>
              </a:ext>
            </a:extLst>
          </p:cNvPr>
          <p:cNvSpPr/>
          <p:nvPr/>
        </p:nvSpPr>
        <p:spPr>
          <a:xfrm>
            <a:off x="2839453" y="2580857"/>
            <a:ext cx="1070810" cy="258069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3E5EEFA-4E93-4BD8-B4F3-422499EC986D}"/>
              </a:ext>
            </a:extLst>
          </p:cNvPr>
          <p:cNvSpPr/>
          <p:nvPr/>
        </p:nvSpPr>
        <p:spPr>
          <a:xfrm>
            <a:off x="7335253" y="2580857"/>
            <a:ext cx="1070810" cy="258068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5D5E84-3CE6-4917-8D0F-B169089DF5E1}"/>
              </a:ext>
            </a:extLst>
          </p:cNvPr>
          <p:cNvSpPr txBox="1"/>
          <p:nvPr/>
        </p:nvSpPr>
        <p:spPr>
          <a:xfrm>
            <a:off x="4265669" y="1022332"/>
            <a:ext cx="51365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Genesis 11: From the Flood to Abraham</a:t>
            </a:r>
          </a:p>
        </p:txBody>
      </p:sp>
      <p:pic>
        <p:nvPicPr>
          <p:cNvPr id="15" name="Audio 14">
            <a:hlinkClick r:id="" action="ppaction://media"/>
            <a:extLst>
              <a:ext uri="{FF2B5EF4-FFF2-40B4-BE49-F238E27FC236}">
                <a16:creationId xmlns:a16="http://schemas.microsoft.com/office/drawing/2014/main" id="{70DA3F1B-8984-4E52-86A5-6D44D969BF5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38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795"/>
    </mc:Choice>
    <mc:Fallback xmlns="">
      <p:transition spd="slow" advTm="10079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EB9AE-6212-4805-8B3B-4A4BD38AA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tions in the Masoretic and Septuagint</a:t>
            </a:r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287E8B-FA5B-410F-877A-82E7C93CB84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74811" y="1589267"/>
            <a:ext cx="105156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CA961064-223F-43A8-9A54-96060B5E7099}"/>
              </a:ext>
            </a:extLst>
          </p:cNvPr>
          <p:cNvSpPr>
            <a:spLocks noEditPoints="1"/>
          </p:cNvSpPr>
          <p:nvPr/>
        </p:nvSpPr>
        <p:spPr bwMode="auto">
          <a:xfrm>
            <a:off x="1341438" y="1712913"/>
            <a:ext cx="9883775" cy="3205163"/>
          </a:xfrm>
          <a:custGeom>
            <a:avLst/>
            <a:gdLst>
              <a:gd name="T0" fmla="*/ 0 w 6226"/>
              <a:gd name="T1" fmla="*/ 2019 h 2019"/>
              <a:gd name="T2" fmla="*/ 6226 w 6226"/>
              <a:gd name="T3" fmla="*/ 2019 h 2019"/>
              <a:gd name="T4" fmla="*/ 0 w 6226"/>
              <a:gd name="T5" fmla="*/ 1791 h 2019"/>
              <a:gd name="T6" fmla="*/ 6226 w 6226"/>
              <a:gd name="T7" fmla="*/ 1791 h 2019"/>
              <a:gd name="T8" fmla="*/ 0 w 6226"/>
              <a:gd name="T9" fmla="*/ 1571 h 2019"/>
              <a:gd name="T10" fmla="*/ 6226 w 6226"/>
              <a:gd name="T11" fmla="*/ 1571 h 2019"/>
              <a:gd name="T12" fmla="*/ 0 w 6226"/>
              <a:gd name="T13" fmla="*/ 1344 h 2019"/>
              <a:gd name="T14" fmla="*/ 6226 w 6226"/>
              <a:gd name="T15" fmla="*/ 1344 h 2019"/>
              <a:gd name="T16" fmla="*/ 0 w 6226"/>
              <a:gd name="T17" fmla="*/ 1123 h 2019"/>
              <a:gd name="T18" fmla="*/ 6226 w 6226"/>
              <a:gd name="T19" fmla="*/ 1123 h 2019"/>
              <a:gd name="T20" fmla="*/ 0 w 6226"/>
              <a:gd name="T21" fmla="*/ 896 h 2019"/>
              <a:gd name="T22" fmla="*/ 6226 w 6226"/>
              <a:gd name="T23" fmla="*/ 896 h 2019"/>
              <a:gd name="T24" fmla="*/ 0 w 6226"/>
              <a:gd name="T25" fmla="*/ 675 h 2019"/>
              <a:gd name="T26" fmla="*/ 6226 w 6226"/>
              <a:gd name="T27" fmla="*/ 675 h 2019"/>
              <a:gd name="T28" fmla="*/ 0 w 6226"/>
              <a:gd name="T29" fmla="*/ 448 h 2019"/>
              <a:gd name="T30" fmla="*/ 6226 w 6226"/>
              <a:gd name="T31" fmla="*/ 448 h 2019"/>
              <a:gd name="T32" fmla="*/ 0 w 6226"/>
              <a:gd name="T33" fmla="*/ 221 h 2019"/>
              <a:gd name="T34" fmla="*/ 6226 w 6226"/>
              <a:gd name="T35" fmla="*/ 221 h 2019"/>
              <a:gd name="T36" fmla="*/ 0 w 6226"/>
              <a:gd name="T37" fmla="*/ 0 h 2019"/>
              <a:gd name="T38" fmla="*/ 6226 w 6226"/>
              <a:gd name="T39" fmla="*/ 0 h 20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226" h="2019">
                <a:moveTo>
                  <a:pt x="0" y="2019"/>
                </a:moveTo>
                <a:lnTo>
                  <a:pt x="6226" y="2019"/>
                </a:lnTo>
                <a:moveTo>
                  <a:pt x="0" y="1791"/>
                </a:moveTo>
                <a:lnTo>
                  <a:pt x="6226" y="1791"/>
                </a:lnTo>
                <a:moveTo>
                  <a:pt x="0" y="1571"/>
                </a:moveTo>
                <a:lnTo>
                  <a:pt x="6226" y="1571"/>
                </a:lnTo>
                <a:moveTo>
                  <a:pt x="0" y="1344"/>
                </a:moveTo>
                <a:lnTo>
                  <a:pt x="6226" y="1344"/>
                </a:lnTo>
                <a:moveTo>
                  <a:pt x="0" y="1123"/>
                </a:moveTo>
                <a:lnTo>
                  <a:pt x="6226" y="1123"/>
                </a:lnTo>
                <a:moveTo>
                  <a:pt x="0" y="896"/>
                </a:moveTo>
                <a:lnTo>
                  <a:pt x="6226" y="896"/>
                </a:lnTo>
                <a:moveTo>
                  <a:pt x="0" y="675"/>
                </a:moveTo>
                <a:lnTo>
                  <a:pt x="6226" y="675"/>
                </a:lnTo>
                <a:moveTo>
                  <a:pt x="0" y="448"/>
                </a:moveTo>
                <a:lnTo>
                  <a:pt x="6226" y="448"/>
                </a:lnTo>
                <a:moveTo>
                  <a:pt x="0" y="221"/>
                </a:moveTo>
                <a:lnTo>
                  <a:pt x="6226" y="221"/>
                </a:lnTo>
                <a:moveTo>
                  <a:pt x="0" y="0"/>
                </a:moveTo>
                <a:lnTo>
                  <a:pt x="6226" y="0"/>
                </a:lnTo>
              </a:path>
            </a:pathLst>
          </a:custGeom>
          <a:noFill/>
          <a:ln w="9525" cap="flat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E294F4EB-A6FF-4F81-B26B-6593F485503C}"/>
              </a:ext>
            </a:extLst>
          </p:cNvPr>
          <p:cNvSpPr>
            <a:spLocks noEditPoints="1"/>
          </p:cNvSpPr>
          <p:nvPr/>
        </p:nvSpPr>
        <p:spPr bwMode="auto">
          <a:xfrm>
            <a:off x="1438275" y="3490913"/>
            <a:ext cx="8712200" cy="1782763"/>
          </a:xfrm>
          <a:custGeom>
            <a:avLst/>
            <a:gdLst>
              <a:gd name="T0" fmla="*/ 75 w 5488"/>
              <a:gd name="T1" fmla="*/ 829 h 1123"/>
              <a:gd name="T2" fmla="*/ 0 w 5488"/>
              <a:gd name="T3" fmla="*/ 1123 h 1123"/>
              <a:gd name="T4" fmla="*/ 271 w 5488"/>
              <a:gd name="T5" fmla="*/ 889 h 1123"/>
              <a:gd name="T6" fmla="*/ 346 w 5488"/>
              <a:gd name="T7" fmla="*/ 1123 h 1123"/>
              <a:gd name="T8" fmla="*/ 271 w 5488"/>
              <a:gd name="T9" fmla="*/ 889 h 1123"/>
              <a:gd name="T10" fmla="*/ 616 w 5488"/>
              <a:gd name="T11" fmla="*/ 922 h 1123"/>
              <a:gd name="T12" fmla="*/ 542 w 5488"/>
              <a:gd name="T13" fmla="*/ 1123 h 1123"/>
              <a:gd name="T14" fmla="*/ 812 w 5488"/>
              <a:gd name="T15" fmla="*/ 962 h 1123"/>
              <a:gd name="T16" fmla="*/ 887 w 5488"/>
              <a:gd name="T17" fmla="*/ 1123 h 1123"/>
              <a:gd name="T18" fmla="*/ 812 w 5488"/>
              <a:gd name="T19" fmla="*/ 962 h 1123"/>
              <a:gd name="T20" fmla="*/ 1158 w 5488"/>
              <a:gd name="T21" fmla="*/ 976 h 1123"/>
              <a:gd name="T22" fmla="*/ 1083 w 5488"/>
              <a:gd name="T23" fmla="*/ 1123 h 1123"/>
              <a:gd name="T24" fmla="*/ 1354 w 5488"/>
              <a:gd name="T25" fmla="*/ 762 h 1123"/>
              <a:gd name="T26" fmla="*/ 1429 w 5488"/>
              <a:gd name="T27" fmla="*/ 1123 h 1123"/>
              <a:gd name="T28" fmla="*/ 1354 w 5488"/>
              <a:gd name="T29" fmla="*/ 762 h 1123"/>
              <a:gd name="T30" fmla="*/ 1700 w 5488"/>
              <a:gd name="T31" fmla="*/ 976 h 1123"/>
              <a:gd name="T32" fmla="*/ 1625 w 5488"/>
              <a:gd name="T33" fmla="*/ 1123 h 1123"/>
              <a:gd name="T34" fmla="*/ 1896 w 5488"/>
              <a:gd name="T35" fmla="*/ 702 h 1123"/>
              <a:gd name="T36" fmla="*/ 1971 w 5488"/>
              <a:gd name="T37" fmla="*/ 1123 h 1123"/>
              <a:gd name="T38" fmla="*/ 1896 w 5488"/>
              <a:gd name="T39" fmla="*/ 702 h 1123"/>
              <a:gd name="T40" fmla="*/ 2242 w 5488"/>
              <a:gd name="T41" fmla="*/ 715 h 1123"/>
              <a:gd name="T42" fmla="*/ 2161 w 5488"/>
              <a:gd name="T43" fmla="*/ 1123 h 1123"/>
              <a:gd name="T44" fmla="*/ 2432 w 5488"/>
              <a:gd name="T45" fmla="*/ 0 h 1123"/>
              <a:gd name="T46" fmla="*/ 2513 w 5488"/>
              <a:gd name="T47" fmla="*/ 1123 h 1123"/>
              <a:gd name="T48" fmla="*/ 2432 w 5488"/>
              <a:gd name="T49" fmla="*/ 0 h 1123"/>
              <a:gd name="T50" fmla="*/ 2784 w 5488"/>
              <a:gd name="T51" fmla="*/ 895 h 1123"/>
              <a:gd name="T52" fmla="*/ 2703 w 5488"/>
              <a:gd name="T53" fmla="*/ 1123 h 1123"/>
              <a:gd name="T54" fmla="*/ 2974 w 5488"/>
              <a:gd name="T55" fmla="*/ 1042 h 1123"/>
              <a:gd name="T56" fmla="*/ 3055 w 5488"/>
              <a:gd name="T57" fmla="*/ 1123 h 1123"/>
              <a:gd name="T58" fmla="*/ 2974 w 5488"/>
              <a:gd name="T59" fmla="*/ 1042 h 1123"/>
              <a:gd name="T60" fmla="*/ 3326 w 5488"/>
              <a:gd name="T61" fmla="*/ 1076 h 1123"/>
              <a:gd name="T62" fmla="*/ 3245 w 5488"/>
              <a:gd name="T63" fmla="*/ 1123 h 1123"/>
              <a:gd name="T64" fmla="*/ 3516 w 5488"/>
              <a:gd name="T65" fmla="*/ 1042 h 1123"/>
              <a:gd name="T66" fmla="*/ 3591 w 5488"/>
              <a:gd name="T67" fmla="*/ 1123 h 1123"/>
              <a:gd name="T68" fmla="*/ 3516 w 5488"/>
              <a:gd name="T69" fmla="*/ 1042 h 1123"/>
              <a:gd name="T70" fmla="*/ 3862 w 5488"/>
              <a:gd name="T71" fmla="*/ 1049 h 1123"/>
              <a:gd name="T72" fmla="*/ 3787 w 5488"/>
              <a:gd name="T73" fmla="*/ 1123 h 1123"/>
              <a:gd name="T74" fmla="*/ 4058 w 5488"/>
              <a:gd name="T75" fmla="*/ 1049 h 1123"/>
              <a:gd name="T76" fmla="*/ 4133 w 5488"/>
              <a:gd name="T77" fmla="*/ 1123 h 1123"/>
              <a:gd name="T78" fmla="*/ 4058 w 5488"/>
              <a:gd name="T79" fmla="*/ 1049 h 1123"/>
              <a:gd name="T80" fmla="*/ 4404 w 5488"/>
              <a:gd name="T81" fmla="*/ 1056 h 1123"/>
              <a:gd name="T82" fmla="*/ 4329 w 5488"/>
              <a:gd name="T83" fmla="*/ 1123 h 1123"/>
              <a:gd name="T84" fmla="*/ 4600 w 5488"/>
              <a:gd name="T85" fmla="*/ 1056 h 1123"/>
              <a:gd name="T86" fmla="*/ 4675 w 5488"/>
              <a:gd name="T87" fmla="*/ 1123 h 1123"/>
              <a:gd name="T88" fmla="*/ 4600 w 5488"/>
              <a:gd name="T89" fmla="*/ 1056 h 1123"/>
              <a:gd name="T90" fmla="*/ 4946 w 5488"/>
              <a:gd name="T91" fmla="*/ 829 h 1123"/>
              <a:gd name="T92" fmla="*/ 4871 w 5488"/>
              <a:gd name="T93" fmla="*/ 1123 h 1123"/>
              <a:gd name="T94" fmla="*/ 5142 w 5488"/>
              <a:gd name="T95" fmla="*/ 895 h 1123"/>
              <a:gd name="T96" fmla="*/ 5217 w 5488"/>
              <a:gd name="T97" fmla="*/ 1123 h 1123"/>
              <a:gd name="T98" fmla="*/ 5142 w 5488"/>
              <a:gd name="T99" fmla="*/ 895 h 1123"/>
              <a:gd name="T100" fmla="*/ 5488 w 5488"/>
              <a:gd name="T101" fmla="*/ 989 h 1123"/>
              <a:gd name="T102" fmla="*/ 5413 w 5488"/>
              <a:gd name="T103" fmla="*/ 1123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88" h="1123">
                <a:moveTo>
                  <a:pt x="0" y="829"/>
                </a:moveTo>
                <a:lnTo>
                  <a:pt x="75" y="829"/>
                </a:lnTo>
                <a:lnTo>
                  <a:pt x="75" y="1123"/>
                </a:lnTo>
                <a:lnTo>
                  <a:pt x="0" y="1123"/>
                </a:lnTo>
                <a:lnTo>
                  <a:pt x="0" y="829"/>
                </a:lnTo>
                <a:close/>
                <a:moveTo>
                  <a:pt x="271" y="889"/>
                </a:moveTo>
                <a:lnTo>
                  <a:pt x="346" y="889"/>
                </a:lnTo>
                <a:lnTo>
                  <a:pt x="346" y="1123"/>
                </a:lnTo>
                <a:lnTo>
                  <a:pt x="271" y="1123"/>
                </a:lnTo>
                <a:lnTo>
                  <a:pt x="271" y="889"/>
                </a:lnTo>
                <a:close/>
                <a:moveTo>
                  <a:pt x="542" y="922"/>
                </a:moveTo>
                <a:lnTo>
                  <a:pt x="616" y="922"/>
                </a:lnTo>
                <a:lnTo>
                  <a:pt x="616" y="1123"/>
                </a:lnTo>
                <a:lnTo>
                  <a:pt x="542" y="1123"/>
                </a:lnTo>
                <a:lnTo>
                  <a:pt x="542" y="922"/>
                </a:lnTo>
                <a:close/>
                <a:moveTo>
                  <a:pt x="812" y="962"/>
                </a:moveTo>
                <a:lnTo>
                  <a:pt x="887" y="962"/>
                </a:lnTo>
                <a:lnTo>
                  <a:pt x="887" y="1123"/>
                </a:lnTo>
                <a:lnTo>
                  <a:pt x="812" y="1123"/>
                </a:lnTo>
                <a:lnTo>
                  <a:pt x="812" y="962"/>
                </a:lnTo>
                <a:close/>
                <a:moveTo>
                  <a:pt x="1083" y="976"/>
                </a:moveTo>
                <a:lnTo>
                  <a:pt x="1158" y="976"/>
                </a:lnTo>
                <a:lnTo>
                  <a:pt x="1158" y="1123"/>
                </a:lnTo>
                <a:lnTo>
                  <a:pt x="1083" y="1123"/>
                </a:lnTo>
                <a:lnTo>
                  <a:pt x="1083" y="976"/>
                </a:lnTo>
                <a:close/>
                <a:moveTo>
                  <a:pt x="1354" y="762"/>
                </a:moveTo>
                <a:lnTo>
                  <a:pt x="1429" y="762"/>
                </a:lnTo>
                <a:lnTo>
                  <a:pt x="1429" y="1123"/>
                </a:lnTo>
                <a:lnTo>
                  <a:pt x="1354" y="1123"/>
                </a:lnTo>
                <a:lnTo>
                  <a:pt x="1354" y="762"/>
                </a:lnTo>
                <a:close/>
                <a:moveTo>
                  <a:pt x="1625" y="976"/>
                </a:moveTo>
                <a:lnTo>
                  <a:pt x="1700" y="976"/>
                </a:lnTo>
                <a:lnTo>
                  <a:pt x="1700" y="1123"/>
                </a:lnTo>
                <a:lnTo>
                  <a:pt x="1625" y="1123"/>
                </a:lnTo>
                <a:lnTo>
                  <a:pt x="1625" y="976"/>
                </a:lnTo>
                <a:close/>
                <a:moveTo>
                  <a:pt x="1896" y="702"/>
                </a:moveTo>
                <a:lnTo>
                  <a:pt x="1971" y="702"/>
                </a:lnTo>
                <a:lnTo>
                  <a:pt x="1971" y="1123"/>
                </a:lnTo>
                <a:lnTo>
                  <a:pt x="1896" y="1123"/>
                </a:lnTo>
                <a:lnTo>
                  <a:pt x="1896" y="702"/>
                </a:lnTo>
                <a:close/>
                <a:moveTo>
                  <a:pt x="2161" y="715"/>
                </a:moveTo>
                <a:lnTo>
                  <a:pt x="2242" y="715"/>
                </a:lnTo>
                <a:lnTo>
                  <a:pt x="2242" y="1123"/>
                </a:lnTo>
                <a:lnTo>
                  <a:pt x="2161" y="1123"/>
                </a:lnTo>
                <a:lnTo>
                  <a:pt x="2161" y="715"/>
                </a:lnTo>
                <a:close/>
                <a:moveTo>
                  <a:pt x="2432" y="0"/>
                </a:moveTo>
                <a:lnTo>
                  <a:pt x="2513" y="0"/>
                </a:lnTo>
                <a:lnTo>
                  <a:pt x="2513" y="1123"/>
                </a:lnTo>
                <a:lnTo>
                  <a:pt x="2432" y="1123"/>
                </a:lnTo>
                <a:lnTo>
                  <a:pt x="2432" y="0"/>
                </a:lnTo>
                <a:close/>
                <a:moveTo>
                  <a:pt x="2703" y="895"/>
                </a:moveTo>
                <a:lnTo>
                  <a:pt x="2784" y="895"/>
                </a:lnTo>
                <a:lnTo>
                  <a:pt x="2784" y="1123"/>
                </a:lnTo>
                <a:lnTo>
                  <a:pt x="2703" y="1123"/>
                </a:lnTo>
                <a:lnTo>
                  <a:pt x="2703" y="895"/>
                </a:lnTo>
                <a:close/>
                <a:moveTo>
                  <a:pt x="2974" y="1042"/>
                </a:moveTo>
                <a:lnTo>
                  <a:pt x="3055" y="1042"/>
                </a:lnTo>
                <a:lnTo>
                  <a:pt x="3055" y="1123"/>
                </a:lnTo>
                <a:lnTo>
                  <a:pt x="2974" y="1123"/>
                </a:lnTo>
                <a:lnTo>
                  <a:pt x="2974" y="1042"/>
                </a:lnTo>
                <a:close/>
                <a:moveTo>
                  <a:pt x="3245" y="1076"/>
                </a:moveTo>
                <a:lnTo>
                  <a:pt x="3326" y="1076"/>
                </a:lnTo>
                <a:lnTo>
                  <a:pt x="3326" y="1123"/>
                </a:lnTo>
                <a:lnTo>
                  <a:pt x="3245" y="1123"/>
                </a:lnTo>
                <a:lnTo>
                  <a:pt x="3245" y="1076"/>
                </a:lnTo>
                <a:close/>
                <a:moveTo>
                  <a:pt x="3516" y="1042"/>
                </a:moveTo>
                <a:lnTo>
                  <a:pt x="3591" y="1042"/>
                </a:lnTo>
                <a:lnTo>
                  <a:pt x="3591" y="1123"/>
                </a:lnTo>
                <a:lnTo>
                  <a:pt x="3516" y="1123"/>
                </a:lnTo>
                <a:lnTo>
                  <a:pt x="3516" y="1042"/>
                </a:lnTo>
                <a:close/>
                <a:moveTo>
                  <a:pt x="3787" y="1049"/>
                </a:moveTo>
                <a:lnTo>
                  <a:pt x="3862" y="1049"/>
                </a:lnTo>
                <a:lnTo>
                  <a:pt x="3862" y="1123"/>
                </a:lnTo>
                <a:lnTo>
                  <a:pt x="3787" y="1123"/>
                </a:lnTo>
                <a:lnTo>
                  <a:pt x="3787" y="1049"/>
                </a:lnTo>
                <a:close/>
                <a:moveTo>
                  <a:pt x="4058" y="1049"/>
                </a:moveTo>
                <a:lnTo>
                  <a:pt x="4133" y="1049"/>
                </a:lnTo>
                <a:lnTo>
                  <a:pt x="4133" y="1123"/>
                </a:lnTo>
                <a:lnTo>
                  <a:pt x="4058" y="1123"/>
                </a:lnTo>
                <a:lnTo>
                  <a:pt x="4058" y="1049"/>
                </a:lnTo>
                <a:close/>
                <a:moveTo>
                  <a:pt x="4329" y="1056"/>
                </a:moveTo>
                <a:lnTo>
                  <a:pt x="4404" y="1056"/>
                </a:lnTo>
                <a:lnTo>
                  <a:pt x="4404" y="1123"/>
                </a:lnTo>
                <a:lnTo>
                  <a:pt x="4329" y="1123"/>
                </a:lnTo>
                <a:lnTo>
                  <a:pt x="4329" y="1056"/>
                </a:lnTo>
                <a:close/>
                <a:moveTo>
                  <a:pt x="4600" y="1056"/>
                </a:moveTo>
                <a:lnTo>
                  <a:pt x="4675" y="1056"/>
                </a:lnTo>
                <a:lnTo>
                  <a:pt x="4675" y="1123"/>
                </a:lnTo>
                <a:lnTo>
                  <a:pt x="4600" y="1123"/>
                </a:lnTo>
                <a:lnTo>
                  <a:pt x="4600" y="1056"/>
                </a:lnTo>
                <a:close/>
                <a:moveTo>
                  <a:pt x="4871" y="829"/>
                </a:moveTo>
                <a:lnTo>
                  <a:pt x="4946" y="829"/>
                </a:lnTo>
                <a:lnTo>
                  <a:pt x="4946" y="1123"/>
                </a:lnTo>
                <a:lnTo>
                  <a:pt x="4871" y="1123"/>
                </a:lnTo>
                <a:lnTo>
                  <a:pt x="4871" y="829"/>
                </a:lnTo>
                <a:close/>
                <a:moveTo>
                  <a:pt x="5142" y="895"/>
                </a:moveTo>
                <a:lnTo>
                  <a:pt x="5217" y="895"/>
                </a:lnTo>
                <a:lnTo>
                  <a:pt x="5217" y="1123"/>
                </a:lnTo>
                <a:lnTo>
                  <a:pt x="5142" y="1123"/>
                </a:lnTo>
                <a:lnTo>
                  <a:pt x="5142" y="895"/>
                </a:lnTo>
                <a:close/>
                <a:moveTo>
                  <a:pt x="5413" y="989"/>
                </a:moveTo>
                <a:lnTo>
                  <a:pt x="5488" y="989"/>
                </a:lnTo>
                <a:lnTo>
                  <a:pt x="5488" y="1123"/>
                </a:lnTo>
                <a:lnTo>
                  <a:pt x="5413" y="1123"/>
                </a:lnTo>
                <a:lnTo>
                  <a:pt x="5413" y="989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BAF87DC3-34D9-49EB-9647-0DA744252995}"/>
              </a:ext>
            </a:extLst>
          </p:cNvPr>
          <p:cNvSpPr>
            <a:spLocks noEditPoints="1"/>
          </p:cNvSpPr>
          <p:nvPr/>
        </p:nvSpPr>
        <p:spPr bwMode="auto">
          <a:xfrm>
            <a:off x="1557338" y="3490913"/>
            <a:ext cx="8712200" cy="1782763"/>
          </a:xfrm>
          <a:custGeom>
            <a:avLst/>
            <a:gdLst>
              <a:gd name="T0" fmla="*/ 80 w 5488"/>
              <a:gd name="T1" fmla="*/ 608 h 1123"/>
              <a:gd name="T2" fmla="*/ 0 w 5488"/>
              <a:gd name="T3" fmla="*/ 1123 h 1123"/>
              <a:gd name="T4" fmla="*/ 271 w 5488"/>
              <a:gd name="T5" fmla="*/ 661 h 1123"/>
              <a:gd name="T6" fmla="*/ 351 w 5488"/>
              <a:gd name="T7" fmla="*/ 1123 h 1123"/>
              <a:gd name="T8" fmla="*/ 271 w 5488"/>
              <a:gd name="T9" fmla="*/ 661 h 1123"/>
              <a:gd name="T10" fmla="*/ 622 w 5488"/>
              <a:gd name="T11" fmla="*/ 695 h 1123"/>
              <a:gd name="T12" fmla="*/ 541 w 5488"/>
              <a:gd name="T13" fmla="*/ 1123 h 1123"/>
              <a:gd name="T14" fmla="*/ 812 w 5488"/>
              <a:gd name="T15" fmla="*/ 742 h 1123"/>
              <a:gd name="T16" fmla="*/ 893 w 5488"/>
              <a:gd name="T17" fmla="*/ 1123 h 1123"/>
              <a:gd name="T18" fmla="*/ 812 w 5488"/>
              <a:gd name="T19" fmla="*/ 742 h 1123"/>
              <a:gd name="T20" fmla="*/ 1164 w 5488"/>
              <a:gd name="T21" fmla="*/ 755 h 1123"/>
              <a:gd name="T22" fmla="*/ 1083 w 5488"/>
              <a:gd name="T23" fmla="*/ 1123 h 1123"/>
              <a:gd name="T24" fmla="*/ 1354 w 5488"/>
              <a:gd name="T25" fmla="*/ 762 h 1123"/>
              <a:gd name="T26" fmla="*/ 1429 w 5488"/>
              <a:gd name="T27" fmla="*/ 1123 h 1123"/>
              <a:gd name="T28" fmla="*/ 1354 w 5488"/>
              <a:gd name="T29" fmla="*/ 762 h 1123"/>
              <a:gd name="T30" fmla="*/ 1700 w 5488"/>
              <a:gd name="T31" fmla="*/ 755 h 1123"/>
              <a:gd name="T32" fmla="*/ 1625 w 5488"/>
              <a:gd name="T33" fmla="*/ 1123 h 1123"/>
              <a:gd name="T34" fmla="*/ 1896 w 5488"/>
              <a:gd name="T35" fmla="*/ 748 h 1123"/>
              <a:gd name="T36" fmla="*/ 1971 w 5488"/>
              <a:gd name="T37" fmla="*/ 1123 h 1123"/>
              <a:gd name="T38" fmla="*/ 1896 w 5488"/>
              <a:gd name="T39" fmla="*/ 748 h 1123"/>
              <a:gd name="T40" fmla="*/ 2242 w 5488"/>
              <a:gd name="T41" fmla="*/ 702 h 1123"/>
              <a:gd name="T42" fmla="*/ 2167 w 5488"/>
              <a:gd name="T43" fmla="*/ 1123 h 1123"/>
              <a:gd name="T44" fmla="*/ 2438 w 5488"/>
              <a:gd name="T45" fmla="*/ 0 h 1123"/>
              <a:gd name="T46" fmla="*/ 2513 w 5488"/>
              <a:gd name="T47" fmla="*/ 1123 h 1123"/>
              <a:gd name="T48" fmla="*/ 2438 w 5488"/>
              <a:gd name="T49" fmla="*/ 0 h 1123"/>
              <a:gd name="T50" fmla="*/ 2784 w 5488"/>
              <a:gd name="T51" fmla="*/ 895 h 1123"/>
              <a:gd name="T52" fmla="*/ 2709 w 5488"/>
              <a:gd name="T53" fmla="*/ 1123 h 1123"/>
              <a:gd name="T54" fmla="*/ 2980 w 5488"/>
              <a:gd name="T55" fmla="*/ 822 h 1123"/>
              <a:gd name="T56" fmla="*/ 3055 w 5488"/>
              <a:gd name="T57" fmla="*/ 1123 h 1123"/>
              <a:gd name="T58" fmla="*/ 2980 w 5488"/>
              <a:gd name="T59" fmla="*/ 822 h 1123"/>
              <a:gd name="T60" fmla="*/ 3326 w 5488"/>
              <a:gd name="T61" fmla="*/ 829 h 1123"/>
              <a:gd name="T62" fmla="*/ 3251 w 5488"/>
              <a:gd name="T63" fmla="*/ 1123 h 1123"/>
              <a:gd name="T64" fmla="*/ 3516 w 5488"/>
              <a:gd name="T65" fmla="*/ 822 h 1123"/>
              <a:gd name="T66" fmla="*/ 3597 w 5488"/>
              <a:gd name="T67" fmla="*/ 1123 h 1123"/>
              <a:gd name="T68" fmla="*/ 3516 w 5488"/>
              <a:gd name="T69" fmla="*/ 822 h 1123"/>
              <a:gd name="T70" fmla="*/ 3868 w 5488"/>
              <a:gd name="T71" fmla="*/ 829 h 1123"/>
              <a:gd name="T72" fmla="*/ 3787 w 5488"/>
              <a:gd name="T73" fmla="*/ 1123 h 1123"/>
              <a:gd name="T74" fmla="*/ 4058 w 5488"/>
              <a:gd name="T75" fmla="*/ 829 h 1123"/>
              <a:gd name="T76" fmla="*/ 4139 w 5488"/>
              <a:gd name="T77" fmla="*/ 1123 h 1123"/>
              <a:gd name="T78" fmla="*/ 4058 w 5488"/>
              <a:gd name="T79" fmla="*/ 829 h 1123"/>
              <a:gd name="T80" fmla="*/ 4410 w 5488"/>
              <a:gd name="T81" fmla="*/ 829 h 1123"/>
              <a:gd name="T82" fmla="*/ 4329 w 5488"/>
              <a:gd name="T83" fmla="*/ 1123 h 1123"/>
              <a:gd name="T84" fmla="*/ 4600 w 5488"/>
              <a:gd name="T85" fmla="*/ 942 h 1123"/>
              <a:gd name="T86" fmla="*/ 4681 w 5488"/>
              <a:gd name="T87" fmla="*/ 1123 h 1123"/>
              <a:gd name="T88" fmla="*/ 4600 w 5488"/>
              <a:gd name="T89" fmla="*/ 942 h 1123"/>
              <a:gd name="T90" fmla="*/ 4952 w 5488"/>
              <a:gd name="T91" fmla="*/ 829 h 1123"/>
              <a:gd name="T92" fmla="*/ 4871 w 5488"/>
              <a:gd name="T93" fmla="*/ 1123 h 1123"/>
              <a:gd name="T94" fmla="*/ 5142 w 5488"/>
              <a:gd name="T95" fmla="*/ 895 h 1123"/>
              <a:gd name="T96" fmla="*/ 5217 w 5488"/>
              <a:gd name="T97" fmla="*/ 1123 h 1123"/>
              <a:gd name="T98" fmla="*/ 5142 w 5488"/>
              <a:gd name="T99" fmla="*/ 895 h 1123"/>
              <a:gd name="T100" fmla="*/ 5488 w 5488"/>
              <a:gd name="T101" fmla="*/ 989 h 1123"/>
              <a:gd name="T102" fmla="*/ 5413 w 5488"/>
              <a:gd name="T103" fmla="*/ 1123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88" h="1123">
                <a:moveTo>
                  <a:pt x="0" y="608"/>
                </a:moveTo>
                <a:lnTo>
                  <a:pt x="80" y="608"/>
                </a:lnTo>
                <a:lnTo>
                  <a:pt x="80" y="1123"/>
                </a:lnTo>
                <a:lnTo>
                  <a:pt x="0" y="1123"/>
                </a:lnTo>
                <a:lnTo>
                  <a:pt x="0" y="608"/>
                </a:lnTo>
                <a:close/>
                <a:moveTo>
                  <a:pt x="271" y="661"/>
                </a:moveTo>
                <a:lnTo>
                  <a:pt x="351" y="661"/>
                </a:lnTo>
                <a:lnTo>
                  <a:pt x="351" y="1123"/>
                </a:lnTo>
                <a:lnTo>
                  <a:pt x="271" y="1123"/>
                </a:lnTo>
                <a:lnTo>
                  <a:pt x="271" y="661"/>
                </a:lnTo>
                <a:close/>
                <a:moveTo>
                  <a:pt x="541" y="695"/>
                </a:moveTo>
                <a:lnTo>
                  <a:pt x="622" y="695"/>
                </a:lnTo>
                <a:lnTo>
                  <a:pt x="622" y="1123"/>
                </a:lnTo>
                <a:lnTo>
                  <a:pt x="541" y="1123"/>
                </a:lnTo>
                <a:lnTo>
                  <a:pt x="541" y="695"/>
                </a:lnTo>
                <a:close/>
                <a:moveTo>
                  <a:pt x="812" y="742"/>
                </a:moveTo>
                <a:lnTo>
                  <a:pt x="893" y="742"/>
                </a:lnTo>
                <a:lnTo>
                  <a:pt x="893" y="1123"/>
                </a:lnTo>
                <a:lnTo>
                  <a:pt x="812" y="1123"/>
                </a:lnTo>
                <a:lnTo>
                  <a:pt x="812" y="742"/>
                </a:lnTo>
                <a:close/>
                <a:moveTo>
                  <a:pt x="1083" y="755"/>
                </a:moveTo>
                <a:lnTo>
                  <a:pt x="1164" y="755"/>
                </a:lnTo>
                <a:lnTo>
                  <a:pt x="1164" y="1123"/>
                </a:lnTo>
                <a:lnTo>
                  <a:pt x="1083" y="1123"/>
                </a:lnTo>
                <a:lnTo>
                  <a:pt x="1083" y="755"/>
                </a:lnTo>
                <a:close/>
                <a:moveTo>
                  <a:pt x="1354" y="762"/>
                </a:moveTo>
                <a:lnTo>
                  <a:pt x="1429" y="762"/>
                </a:lnTo>
                <a:lnTo>
                  <a:pt x="1429" y="1123"/>
                </a:lnTo>
                <a:lnTo>
                  <a:pt x="1354" y="1123"/>
                </a:lnTo>
                <a:lnTo>
                  <a:pt x="1354" y="762"/>
                </a:lnTo>
                <a:close/>
                <a:moveTo>
                  <a:pt x="1625" y="755"/>
                </a:moveTo>
                <a:lnTo>
                  <a:pt x="1700" y="755"/>
                </a:lnTo>
                <a:lnTo>
                  <a:pt x="1700" y="1123"/>
                </a:lnTo>
                <a:lnTo>
                  <a:pt x="1625" y="1123"/>
                </a:lnTo>
                <a:lnTo>
                  <a:pt x="1625" y="755"/>
                </a:lnTo>
                <a:close/>
                <a:moveTo>
                  <a:pt x="1896" y="748"/>
                </a:moveTo>
                <a:lnTo>
                  <a:pt x="1971" y="748"/>
                </a:lnTo>
                <a:lnTo>
                  <a:pt x="1971" y="1123"/>
                </a:lnTo>
                <a:lnTo>
                  <a:pt x="1896" y="1123"/>
                </a:lnTo>
                <a:lnTo>
                  <a:pt x="1896" y="748"/>
                </a:lnTo>
                <a:close/>
                <a:moveTo>
                  <a:pt x="2167" y="702"/>
                </a:moveTo>
                <a:lnTo>
                  <a:pt x="2242" y="702"/>
                </a:lnTo>
                <a:lnTo>
                  <a:pt x="2242" y="1123"/>
                </a:lnTo>
                <a:lnTo>
                  <a:pt x="2167" y="1123"/>
                </a:lnTo>
                <a:lnTo>
                  <a:pt x="2167" y="702"/>
                </a:lnTo>
                <a:close/>
                <a:moveTo>
                  <a:pt x="2438" y="0"/>
                </a:moveTo>
                <a:lnTo>
                  <a:pt x="2513" y="0"/>
                </a:lnTo>
                <a:lnTo>
                  <a:pt x="2513" y="1123"/>
                </a:lnTo>
                <a:lnTo>
                  <a:pt x="2438" y="1123"/>
                </a:lnTo>
                <a:lnTo>
                  <a:pt x="2438" y="0"/>
                </a:lnTo>
                <a:close/>
                <a:moveTo>
                  <a:pt x="2709" y="895"/>
                </a:moveTo>
                <a:lnTo>
                  <a:pt x="2784" y="895"/>
                </a:lnTo>
                <a:lnTo>
                  <a:pt x="2784" y="1123"/>
                </a:lnTo>
                <a:lnTo>
                  <a:pt x="2709" y="1123"/>
                </a:lnTo>
                <a:lnTo>
                  <a:pt x="2709" y="895"/>
                </a:lnTo>
                <a:close/>
                <a:moveTo>
                  <a:pt x="2980" y="822"/>
                </a:moveTo>
                <a:lnTo>
                  <a:pt x="3055" y="822"/>
                </a:lnTo>
                <a:lnTo>
                  <a:pt x="3055" y="1123"/>
                </a:lnTo>
                <a:lnTo>
                  <a:pt x="2980" y="1123"/>
                </a:lnTo>
                <a:lnTo>
                  <a:pt x="2980" y="822"/>
                </a:lnTo>
                <a:close/>
                <a:moveTo>
                  <a:pt x="3251" y="829"/>
                </a:moveTo>
                <a:lnTo>
                  <a:pt x="3326" y="829"/>
                </a:lnTo>
                <a:lnTo>
                  <a:pt x="3326" y="1123"/>
                </a:lnTo>
                <a:lnTo>
                  <a:pt x="3251" y="1123"/>
                </a:lnTo>
                <a:lnTo>
                  <a:pt x="3251" y="829"/>
                </a:lnTo>
                <a:close/>
                <a:moveTo>
                  <a:pt x="3516" y="822"/>
                </a:moveTo>
                <a:lnTo>
                  <a:pt x="3597" y="822"/>
                </a:lnTo>
                <a:lnTo>
                  <a:pt x="3597" y="1123"/>
                </a:lnTo>
                <a:lnTo>
                  <a:pt x="3516" y="1123"/>
                </a:lnTo>
                <a:lnTo>
                  <a:pt x="3516" y="822"/>
                </a:lnTo>
                <a:close/>
                <a:moveTo>
                  <a:pt x="3787" y="829"/>
                </a:moveTo>
                <a:lnTo>
                  <a:pt x="3868" y="829"/>
                </a:lnTo>
                <a:lnTo>
                  <a:pt x="3868" y="1123"/>
                </a:lnTo>
                <a:lnTo>
                  <a:pt x="3787" y="1123"/>
                </a:lnTo>
                <a:lnTo>
                  <a:pt x="3787" y="829"/>
                </a:lnTo>
                <a:close/>
                <a:moveTo>
                  <a:pt x="4058" y="829"/>
                </a:moveTo>
                <a:lnTo>
                  <a:pt x="4139" y="829"/>
                </a:lnTo>
                <a:lnTo>
                  <a:pt x="4139" y="1123"/>
                </a:lnTo>
                <a:lnTo>
                  <a:pt x="4058" y="1123"/>
                </a:lnTo>
                <a:lnTo>
                  <a:pt x="4058" y="829"/>
                </a:lnTo>
                <a:close/>
                <a:moveTo>
                  <a:pt x="4329" y="829"/>
                </a:moveTo>
                <a:lnTo>
                  <a:pt x="4410" y="829"/>
                </a:lnTo>
                <a:lnTo>
                  <a:pt x="4410" y="1123"/>
                </a:lnTo>
                <a:lnTo>
                  <a:pt x="4329" y="1123"/>
                </a:lnTo>
                <a:lnTo>
                  <a:pt x="4329" y="829"/>
                </a:lnTo>
                <a:close/>
                <a:moveTo>
                  <a:pt x="4600" y="942"/>
                </a:moveTo>
                <a:lnTo>
                  <a:pt x="4681" y="942"/>
                </a:lnTo>
                <a:lnTo>
                  <a:pt x="4681" y="1123"/>
                </a:lnTo>
                <a:lnTo>
                  <a:pt x="4600" y="1123"/>
                </a:lnTo>
                <a:lnTo>
                  <a:pt x="4600" y="942"/>
                </a:lnTo>
                <a:close/>
                <a:moveTo>
                  <a:pt x="4871" y="829"/>
                </a:moveTo>
                <a:lnTo>
                  <a:pt x="4952" y="829"/>
                </a:lnTo>
                <a:lnTo>
                  <a:pt x="4952" y="1123"/>
                </a:lnTo>
                <a:lnTo>
                  <a:pt x="4871" y="1123"/>
                </a:lnTo>
                <a:lnTo>
                  <a:pt x="4871" y="829"/>
                </a:lnTo>
                <a:close/>
                <a:moveTo>
                  <a:pt x="5142" y="895"/>
                </a:moveTo>
                <a:lnTo>
                  <a:pt x="5217" y="895"/>
                </a:lnTo>
                <a:lnTo>
                  <a:pt x="5217" y="1123"/>
                </a:lnTo>
                <a:lnTo>
                  <a:pt x="5142" y="1123"/>
                </a:lnTo>
                <a:lnTo>
                  <a:pt x="5142" y="895"/>
                </a:lnTo>
                <a:close/>
                <a:moveTo>
                  <a:pt x="5413" y="989"/>
                </a:moveTo>
                <a:lnTo>
                  <a:pt x="5488" y="989"/>
                </a:lnTo>
                <a:lnTo>
                  <a:pt x="5488" y="1123"/>
                </a:lnTo>
                <a:lnTo>
                  <a:pt x="5413" y="1123"/>
                </a:lnTo>
                <a:lnTo>
                  <a:pt x="5413" y="989"/>
                </a:lnTo>
                <a:close/>
              </a:path>
            </a:pathLst>
          </a:custGeom>
          <a:solidFill>
            <a:srgbClr val="70AD4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9">
            <a:extLst>
              <a:ext uri="{FF2B5EF4-FFF2-40B4-BE49-F238E27FC236}">
                <a16:creationId xmlns:a16="http://schemas.microsoft.com/office/drawing/2014/main" id="{FF4E7817-EAD6-456E-9C38-86ED71BE85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341438" y="5267325"/>
            <a:ext cx="9883775" cy="0"/>
          </a:xfrm>
          <a:prstGeom prst="line">
            <a:avLst/>
          </a:prstGeom>
          <a:noFill/>
          <a:ln w="9525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/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526C1077-A500-4244-8431-F48E46A4AFAC}"/>
              </a:ext>
            </a:extLst>
          </p:cNvPr>
          <p:cNvSpPr>
            <a:spLocks/>
          </p:cNvSpPr>
          <p:nvPr/>
        </p:nvSpPr>
        <p:spPr bwMode="auto">
          <a:xfrm>
            <a:off x="1560513" y="1819275"/>
            <a:ext cx="9445625" cy="3055938"/>
          </a:xfrm>
          <a:custGeom>
            <a:avLst/>
            <a:gdLst>
              <a:gd name="T0" fmla="*/ 0 w 5950"/>
              <a:gd name="T1" fmla="*/ 87 h 1925"/>
              <a:gd name="T2" fmla="*/ 271 w 5950"/>
              <a:gd name="T3" fmla="*/ 127 h 1925"/>
              <a:gd name="T4" fmla="*/ 542 w 5950"/>
              <a:gd name="T5" fmla="*/ 147 h 1925"/>
              <a:gd name="T6" fmla="*/ 813 w 5950"/>
              <a:gd name="T7" fmla="*/ 133 h 1925"/>
              <a:gd name="T8" fmla="*/ 1084 w 5950"/>
              <a:gd name="T9" fmla="*/ 167 h 1925"/>
              <a:gd name="T10" fmla="*/ 1355 w 5950"/>
              <a:gd name="T11" fmla="*/ 20 h 1925"/>
              <a:gd name="T12" fmla="*/ 1620 w 5950"/>
              <a:gd name="T13" fmla="*/ 1357 h 1925"/>
              <a:gd name="T14" fmla="*/ 1891 w 5950"/>
              <a:gd name="T15" fmla="*/ 0 h 1925"/>
              <a:gd name="T16" fmla="*/ 2162 w 5950"/>
              <a:gd name="T17" fmla="*/ 434 h 1925"/>
              <a:gd name="T18" fmla="*/ 2433 w 5950"/>
              <a:gd name="T19" fmla="*/ 47 h 1925"/>
              <a:gd name="T20" fmla="*/ 2704 w 5950"/>
              <a:gd name="T21" fmla="*/ 829 h 1925"/>
              <a:gd name="T22" fmla="*/ 2975 w 5950"/>
              <a:gd name="T23" fmla="*/ 1190 h 1925"/>
              <a:gd name="T24" fmla="*/ 3246 w 5950"/>
              <a:gd name="T25" fmla="*/ 1203 h 1925"/>
              <a:gd name="T26" fmla="*/ 3517 w 5950"/>
              <a:gd name="T27" fmla="*/ 1136 h 1925"/>
              <a:gd name="T28" fmla="*/ 3788 w 5950"/>
              <a:gd name="T29" fmla="*/ 1618 h 1925"/>
              <a:gd name="T30" fmla="*/ 4059 w 5950"/>
              <a:gd name="T31" fmla="*/ 1638 h 1925"/>
              <a:gd name="T32" fmla="*/ 4330 w 5950"/>
              <a:gd name="T33" fmla="*/ 1658 h 1925"/>
              <a:gd name="T34" fmla="*/ 4601 w 5950"/>
              <a:gd name="T35" fmla="*/ 1845 h 1925"/>
              <a:gd name="T36" fmla="*/ 4872 w 5950"/>
              <a:gd name="T37" fmla="*/ 1718 h 1925"/>
              <a:gd name="T38" fmla="*/ 5143 w 5950"/>
              <a:gd name="T39" fmla="*/ 1785 h 1925"/>
              <a:gd name="T40" fmla="*/ 5414 w 5950"/>
              <a:gd name="T41" fmla="*/ 1771 h 1925"/>
              <a:gd name="T42" fmla="*/ 5679 w 5950"/>
              <a:gd name="T43" fmla="*/ 1845 h 1925"/>
              <a:gd name="T44" fmla="*/ 5950 w 5950"/>
              <a:gd name="T45" fmla="*/ 1925 h 19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950" h="1925">
                <a:moveTo>
                  <a:pt x="0" y="87"/>
                </a:moveTo>
                <a:lnTo>
                  <a:pt x="271" y="127"/>
                </a:lnTo>
                <a:lnTo>
                  <a:pt x="542" y="147"/>
                </a:lnTo>
                <a:lnTo>
                  <a:pt x="813" y="133"/>
                </a:lnTo>
                <a:lnTo>
                  <a:pt x="1084" y="167"/>
                </a:lnTo>
                <a:lnTo>
                  <a:pt x="1355" y="20"/>
                </a:lnTo>
                <a:lnTo>
                  <a:pt x="1620" y="1357"/>
                </a:lnTo>
                <a:lnTo>
                  <a:pt x="1891" y="0"/>
                </a:lnTo>
                <a:lnTo>
                  <a:pt x="2162" y="434"/>
                </a:lnTo>
                <a:lnTo>
                  <a:pt x="2433" y="47"/>
                </a:lnTo>
                <a:lnTo>
                  <a:pt x="2704" y="829"/>
                </a:lnTo>
                <a:lnTo>
                  <a:pt x="2975" y="1190"/>
                </a:lnTo>
                <a:lnTo>
                  <a:pt x="3246" y="1203"/>
                </a:lnTo>
                <a:lnTo>
                  <a:pt x="3517" y="1136"/>
                </a:lnTo>
                <a:lnTo>
                  <a:pt x="3788" y="1618"/>
                </a:lnTo>
                <a:lnTo>
                  <a:pt x="4059" y="1638"/>
                </a:lnTo>
                <a:lnTo>
                  <a:pt x="4330" y="1658"/>
                </a:lnTo>
                <a:lnTo>
                  <a:pt x="4601" y="1845"/>
                </a:lnTo>
                <a:lnTo>
                  <a:pt x="4872" y="1718"/>
                </a:lnTo>
                <a:lnTo>
                  <a:pt x="5143" y="1785"/>
                </a:lnTo>
                <a:lnTo>
                  <a:pt x="5414" y="1771"/>
                </a:lnTo>
                <a:lnTo>
                  <a:pt x="5679" y="1845"/>
                </a:lnTo>
                <a:lnTo>
                  <a:pt x="5950" y="1925"/>
                </a:lnTo>
              </a:path>
            </a:pathLst>
          </a:custGeom>
          <a:noFill/>
          <a:ln w="26988" cap="rnd">
            <a:solidFill>
              <a:srgbClr val="00B0F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Oval 11">
            <a:extLst>
              <a:ext uri="{FF2B5EF4-FFF2-40B4-BE49-F238E27FC236}">
                <a16:creationId xmlns:a16="http://schemas.microsoft.com/office/drawing/2014/main" id="{B4A83113-20B9-4983-B251-DEB8A2D444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3525" y="192563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70ACD7CC-0DC1-451D-8A83-2372A4BA87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3525" y="192563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Oval 13">
            <a:extLst>
              <a:ext uri="{FF2B5EF4-FFF2-40B4-BE49-F238E27FC236}">
                <a16:creationId xmlns:a16="http://schemas.microsoft.com/office/drawing/2014/main" id="{E3BEFFE0-F440-45DC-8AF1-5A82EBAF1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738" y="198913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Oval 14">
            <a:extLst>
              <a:ext uri="{FF2B5EF4-FFF2-40B4-BE49-F238E27FC236}">
                <a16:creationId xmlns:a16="http://schemas.microsoft.com/office/drawing/2014/main" id="{4E0F7F3A-250A-4199-BFDF-DDDDF89F48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738" y="198913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5F808060-6B93-451B-B7C9-6DC490C95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0" y="202088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Oval 16">
            <a:extLst>
              <a:ext uri="{FF2B5EF4-FFF2-40B4-BE49-F238E27FC236}">
                <a16:creationId xmlns:a16="http://schemas.microsoft.com/office/drawing/2014/main" id="{36F39512-6E9B-4542-BD6B-29F387898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0" y="202088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DBD1EA5C-F514-4FA2-A101-3A2F83E93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4163" y="1998663"/>
            <a:ext cx="55563" cy="65088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2882D8F1-C4C1-475C-9B11-E84D46CC2D68}"/>
              </a:ext>
            </a:extLst>
          </p:cNvPr>
          <p:cNvSpPr>
            <a:spLocks/>
          </p:cNvSpPr>
          <p:nvPr/>
        </p:nvSpPr>
        <p:spPr bwMode="auto">
          <a:xfrm>
            <a:off x="2824163" y="1998663"/>
            <a:ext cx="55563" cy="65088"/>
          </a:xfrm>
          <a:custGeom>
            <a:avLst/>
            <a:gdLst>
              <a:gd name="T0" fmla="*/ 35 w 35"/>
              <a:gd name="T1" fmla="*/ 20 h 41"/>
              <a:gd name="T2" fmla="*/ 17 w 35"/>
              <a:gd name="T3" fmla="*/ 41 h 41"/>
              <a:gd name="T4" fmla="*/ 0 w 35"/>
              <a:gd name="T5" fmla="*/ 20 h 41"/>
              <a:gd name="T6" fmla="*/ 17 w 35"/>
              <a:gd name="T7" fmla="*/ 0 h 41"/>
              <a:gd name="T8" fmla="*/ 35 w 35"/>
              <a:gd name="T9" fmla="*/ 2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41">
                <a:moveTo>
                  <a:pt x="35" y="20"/>
                </a:moveTo>
                <a:cubicBezTo>
                  <a:pt x="35" y="32"/>
                  <a:pt x="27" y="41"/>
                  <a:pt x="17" y="41"/>
                </a:cubicBezTo>
                <a:cubicBezTo>
                  <a:pt x="8" y="41"/>
                  <a:pt x="0" y="32"/>
                  <a:pt x="0" y="20"/>
                </a:cubicBezTo>
                <a:cubicBezTo>
                  <a:pt x="0" y="10"/>
                  <a:pt x="8" y="0"/>
                  <a:pt x="17" y="0"/>
                </a:cubicBezTo>
                <a:cubicBezTo>
                  <a:pt x="27" y="0"/>
                  <a:pt x="35" y="10"/>
                  <a:pt x="35" y="20"/>
                </a:cubicBezTo>
              </a:path>
            </a:pathLst>
          </a:cu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4EB1977C-CB27-4583-8397-6AADC2A52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4375" y="205263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EF92D8A9-985D-4976-AD3A-361D364276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4375" y="205263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E0F99782-F36E-415F-A725-1BFC5E2F3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588" y="1819275"/>
            <a:ext cx="53975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3A244466-E565-45A6-8174-FE54091EE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588" y="1819275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A1DC7D12-42FC-4DDD-B10D-BDBDEEFBE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5275" y="3941763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23409F4B-7BBA-4E6E-A42E-177579988F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5275" y="3941763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7A13BA84-7AE5-48BC-8321-4DE31433E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5488" y="1787525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6">
            <a:extLst>
              <a:ext uri="{FF2B5EF4-FFF2-40B4-BE49-F238E27FC236}">
                <a16:creationId xmlns:a16="http://schemas.microsoft.com/office/drawing/2014/main" id="{202D10A3-809B-43A3-94EE-17E4BEFE7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5488" y="1787525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Oval 27">
            <a:extLst>
              <a:ext uri="{FF2B5EF4-FFF2-40B4-BE49-F238E27FC236}">
                <a16:creationId xmlns:a16="http://schemas.microsoft.com/office/drawing/2014/main" id="{AD2F83BC-7214-4B87-9C46-BB1A301482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5700" y="2476500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28">
            <a:extLst>
              <a:ext uri="{FF2B5EF4-FFF2-40B4-BE49-F238E27FC236}">
                <a16:creationId xmlns:a16="http://schemas.microsoft.com/office/drawing/2014/main" id="{47D108EF-FB7D-4E50-8E29-F554B7A69E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5700" y="2476500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29">
            <a:extLst>
              <a:ext uri="{FF2B5EF4-FFF2-40B4-BE49-F238E27FC236}">
                <a16:creationId xmlns:a16="http://schemas.microsoft.com/office/drawing/2014/main" id="{B63CB616-4F7A-433C-8DA1-D86A1B336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913" y="186213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30">
            <a:extLst>
              <a:ext uri="{FF2B5EF4-FFF2-40B4-BE49-F238E27FC236}">
                <a16:creationId xmlns:a16="http://schemas.microsoft.com/office/drawing/2014/main" id="{F892C9DA-CCD5-462A-9684-3CE3EB4DC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913" y="186213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31">
            <a:extLst>
              <a:ext uri="{FF2B5EF4-FFF2-40B4-BE49-F238E27FC236}">
                <a16:creationId xmlns:a16="http://schemas.microsoft.com/office/drawing/2014/main" id="{BC54B5B7-2852-4531-9B34-AD0344465D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6125" y="3103563"/>
            <a:ext cx="53975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32">
            <a:extLst>
              <a:ext uri="{FF2B5EF4-FFF2-40B4-BE49-F238E27FC236}">
                <a16:creationId xmlns:a16="http://schemas.microsoft.com/office/drawing/2014/main" id="{B5759BE6-0D33-45D2-947D-34FB18BD2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6125" y="3103563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33">
            <a:extLst>
              <a:ext uri="{FF2B5EF4-FFF2-40B4-BE49-F238E27FC236}">
                <a16:creationId xmlns:a16="http://schemas.microsoft.com/office/drawing/2014/main" id="{D79D7993-8054-43CB-B961-642D7940F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338" y="3676650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34">
            <a:extLst>
              <a:ext uri="{FF2B5EF4-FFF2-40B4-BE49-F238E27FC236}">
                <a16:creationId xmlns:a16="http://schemas.microsoft.com/office/drawing/2014/main" id="{FACB0349-A150-4220-8C71-15937EF35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338" y="3676650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35">
            <a:extLst>
              <a:ext uri="{FF2B5EF4-FFF2-40B4-BE49-F238E27FC236}">
                <a16:creationId xmlns:a16="http://schemas.microsoft.com/office/drawing/2014/main" id="{2268A9A4-EE96-4FC1-AB0A-1F18A482C2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50" y="3697288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36">
            <a:extLst>
              <a:ext uri="{FF2B5EF4-FFF2-40B4-BE49-F238E27FC236}">
                <a16:creationId xmlns:a16="http://schemas.microsoft.com/office/drawing/2014/main" id="{824C8876-6309-4132-8B6B-60C2B87F4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50" y="3697288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37">
            <a:extLst>
              <a:ext uri="{FF2B5EF4-FFF2-40B4-BE49-F238E27FC236}">
                <a16:creationId xmlns:a16="http://schemas.microsoft.com/office/drawing/2014/main" id="{9B38EED3-D1A7-4CFA-8238-D2B4AC2C4C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763" y="3590925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38">
            <a:extLst>
              <a:ext uri="{FF2B5EF4-FFF2-40B4-BE49-F238E27FC236}">
                <a16:creationId xmlns:a16="http://schemas.microsoft.com/office/drawing/2014/main" id="{930C49D1-B49D-490B-9C7D-EC998EE021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763" y="3590925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39">
            <a:extLst>
              <a:ext uri="{FF2B5EF4-FFF2-40B4-BE49-F238E27FC236}">
                <a16:creationId xmlns:a16="http://schemas.microsoft.com/office/drawing/2014/main" id="{481C22C8-92DC-4140-99B9-2496EB4634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975" y="4354513"/>
            <a:ext cx="53975" cy="65088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40">
            <a:extLst>
              <a:ext uri="{FF2B5EF4-FFF2-40B4-BE49-F238E27FC236}">
                <a16:creationId xmlns:a16="http://schemas.microsoft.com/office/drawing/2014/main" id="{1A93455B-D8AC-4D69-BBB6-51DFAFD1AE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975" y="4354513"/>
            <a:ext cx="53975" cy="65088"/>
          </a:xfrm>
          <a:prstGeom prst="ellipse">
            <a:avLst/>
          </a:prstGeom>
          <a:solidFill>
            <a:srgbClr val="00B0F0"/>
          </a:solidFill>
          <a:ln w="9525" cap="flat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41">
            <a:extLst>
              <a:ext uri="{FF2B5EF4-FFF2-40B4-BE49-F238E27FC236}">
                <a16:creationId xmlns:a16="http://schemas.microsoft.com/office/drawing/2014/main" id="{E1383493-64FE-4E7E-88C2-066196D18A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88" y="4387850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42">
            <a:extLst>
              <a:ext uri="{FF2B5EF4-FFF2-40B4-BE49-F238E27FC236}">
                <a16:creationId xmlns:a16="http://schemas.microsoft.com/office/drawing/2014/main" id="{90FB5C6B-74E7-41A1-AEC7-D164AA653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88" y="4387850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43">
            <a:extLst>
              <a:ext uri="{FF2B5EF4-FFF2-40B4-BE49-F238E27FC236}">
                <a16:creationId xmlns:a16="http://schemas.microsoft.com/office/drawing/2014/main" id="{EDF29971-6BA1-40D4-BD28-B424F2E81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00" y="4419600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44">
            <a:extLst>
              <a:ext uri="{FF2B5EF4-FFF2-40B4-BE49-F238E27FC236}">
                <a16:creationId xmlns:a16="http://schemas.microsoft.com/office/drawing/2014/main" id="{C7A83371-2D0C-4B0F-A826-3CB1D91590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00" y="4419600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45">
            <a:extLst>
              <a:ext uri="{FF2B5EF4-FFF2-40B4-BE49-F238E27FC236}">
                <a16:creationId xmlns:a16="http://schemas.microsoft.com/office/drawing/2014/main" id="{334CC38E-685E-433A-9574-DB334DDB0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613" y="4716463"/>
            <a:ext cx="53975" cy="63500"/>
          </a:xfrm>
          <a:prstGeom prst="ellipse">
            <a:avLst/>
          </a:prstGeom>
          <a:solidFill>
            <a:srgbClr val="00B0F0"/>
          </a:solidFill>
          <a:ln w="0">
            <a:solidFill>
              <a:srgbClr val="00B0F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46">
            <a:extLst>
              <a:ext uri="{FF2B5EF4-FFF2-40B4-BE49-F238E27FC236}">
                <a16:creationId xmlns:a16="http://schemas.microsoft.com/office/drawing/2014/main" id="{80ED2695-5588-418E-9AD3-D99497075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613" y="4716463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47">
            <a:extLst>
              <a:ext uri="{FF2B5EF4-FFF2-40B4-BE49-F238E27FC236}">
                <a16:creationId xmlns:a16="http://schemas.microsoft.com/office/drawing/2014/main" id="{10641D02-0DCD-4B61-8BFC-D827554507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7825" y="4514850"/>
            <a:ext cx="53975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48">
            <a:extLst>
              <a:ext uri="{FF2B5EF4-FFF2-40B4-BE49-F238E27FC236}">
                <a16:creationId xmlns:a16="http://schemas.microsoft.com/office/drawing/2014/main" id="{AFBBA205-AED7-40D8-B812-D5FDAC9C1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7825" y="4514850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49">
            <a:extLst>
              <a:ext uri="{FF2B5EF4-FFF2-40B4-BE49-F238E27FC236}">
                <a16:creationId xmlns:a16="http://schemas.microsoft.com/office/drawing/2014/main" id="{55262F56-DDB3-4F5A-A027-5BD19D713D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450" y="4621213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50">
            <a:extLst>
              <a:ext uri="{FF2B5EF4-FFF2-40B4-BE49-F238E27FC236}">
                <a16:creationId xmlns:a16="http://schemas.microsoft.com/office/drawing/2014/main" id="{CA88AA9F-B459-41BD-BBBC-BD0332D45E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450" y="4621213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51">
            <a:extLst>
              <a:ext uri="{FF2B5EF4-FFF2-40B4-BE49-F238E27FC236}">
                <a16:creationId xmlns:a16="http://schemas.microsoft.com/office/drawing/2014/main" id="{C076C262-82DF-44EB-BE7E-78F5530300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6663" y="4598988"/>
            <a:ext cx="55563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52">
            <a:extLst>
              <a:ext uri="{FF2B5EF4-FFF2-40B4-BE49-F238E27FC236}">
                <a16:creationId xmlns:a16="http://schemas.microsoft.com/office/drawing/2014/main" id="{2CE1CA8B-EB9B-4BBF-A0CF-B74FF53F52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6663" y="4598988"/>
            <a:ext cx="55563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53">
            <a:extLst>
              <a:ext uri="{FF2B5EF4-FFF2-40B4-BE49-F238E27FC236}">
                <a16:creationId xmlns:a16="http://schemas.microsoft.com/office/drawing/2014/main" id="{E8147DD1-6592-4794-8665-E7E207A9E8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8938" y="4716463"/>
            <a:ext cx="53975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54">
            <a:extLst>
              <a:ext uri="{FF2B5EF4-FFF2-40B4-BE49-F238E27FC236}">
                <a16:creationId xmlns:a16="http://schemas.microsoft.com/office/drawing/2014/main" id="{473098F3-27E5-4E09-B532-A17CC3584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8938" y="4716463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55">
            <a:extLst>
              <a:ext uri="{FF2B5EF4-FFF2-40B4-BE49-F238E27FC236}">
                <a16:creationId xmlns:a16="http://schemas.microsoft.com/office/drawing/2014/main" id="{09F1DADB-BB64-4825-9499-E4B03197A7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9150" y="4843463"/>
            <a:ext cx="53975" cy="63500"/>
          </a:xfrm>
          <a:prstGeom prst="ellipse">
            <a:avLst/>
          </a:prstGeom>
          <a:solidFill>
            <a:srgbClr val="4472C4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56">
            <a:extLst>
              <a:ext uri="{FF2B5EF4-FFF2-40B4-BE49-F238E27FC236}">
                <a16:creationId xmlns:a16="http://schemas.microsoft.com/office/drawing/2014/main" id="{5BCB11CA-3ED8-495D-9275-B0895708B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9150" y="4843463"/>
            <a:ext cx="53975" cy="63500"/>
          </a:xfrm>
          <a:prstGeom prst="ellipse">
            <a:avLst/>
          </a:prstGeom>
          <a:noFill/>
          <a:ln w="9525" cap="flat">
            <a:solidFill>
              <a:srgbClr val="4472C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Freeform 57">
            <a:extLst>
              <a:ext uri="{FF2B5EF4-FFF2-40B4-BE49-F238E27FC236}">
                <a16:creationId xmlns:a16="http://schemas.microsoft.com/office/drawing/2014/main" id="{5E924A7C-97F5-4751-A183-14C46CCA76D1}"/>
              </a:ext>
            </a:extLst>
          </p:cNvPr>
          <p:cNvSpPr>
            <a:spLocks/>
          </p:cNvSpPr>
          <p:nvPr/>
        </p:nvSpPr>
        <p:spPr bwMode="auto">
          <a:xfrm>
            <a:off x="1560513" y="1819275"/>
            <a:ext cx="9445625" cy="3055938"/>
          </a:xfrm>
          <a:custGeom>
            <a:avLst/>
            <a:gdLst>
              <a:gd name="T0" fmla="*/ 0 w 5950"/>
              <a:gd name="T1" fmla="*/ 87 h 1925"/>
              <a:gd name="T2" fmla="*/ 271 w 5950"/>
              <a:gd name="T3" fmla="*/ 127 h 1925"/>
              <a:gd name="T4" fmla="*/ 542 w 5950"/>
              <a:gd name="T5" fmla="*/ 147 h 1925"/>
              <a:gd name="T6" fmla="*/ 813 w 5950"/>
              <a:gd name="T7" fmla="*/ 133 h 1925"/>
              <a:gd name="T8" fmla="*/ 1084 w 5950"/>
              <a:gd name="T9" fmla="*/ 167 h 1925"/>
              <a:gd name="T10" fmla="*/ 1355 w 5950"/>
              <a:gd name="T11" fmla="*/ 20 h 1925"/>
              <a:gd name="T12" fmla="*/ 1620 w 5950"/>
              <a:gd name="T13" fmla="*/ 1357 h 1925"/>
              <a:gd name="T14" fmla="*/ 1891 w 5950"/>
              <a:gd name="T15" fmla="*/ 0 h 1925"/>
              <a:gd name="T16" fmla="*/ 2162 w 5950"/>
              <a:gd name="T17" fmla="*/ 488 h 1925"/>
              <a:gd name="T18" fmla="*/ 2433 w 5950"/>
              <a:gd name="T19" fmla="*/ 47 h 1925"/>
              <a:gd name="T20" fmla="*/ 2704 w 5950"/>
              <a:gd name="T21" fmla="*/ 829 h 1925"/>
              <a:gd name="T22" fmla="*/ 2975 w 5950"/>
              <a:gd name="T23" fmla="*/ 976 h 1925"/>
              <a:gd name="T24" fmla="*/ 3246 w 5950"/>
              <a:gd name="T25" fmla="*/ 1143 h 1925"/>
              <a:gd name="T26" fmla="*/ 3517 w 5950"/>
              <a:gd name="T27" fmla="*/ 1270 h 1925"/>
              <a:gd name="T28" fmla="*/ 3788 w 5950"/>
              <a:gd name="T29" fmla="*/ 1417 h 1925"/>
              <a:gd name="T30" fmla="*/ 4059 w 5950"/>
              <a:gd name="T31" fmla="*/ 1417 h 1925"/>
              <a:gd name="T32" fmla="*/ 4330 w 5950"/>
              <a:gd name="T33" fmla="*/ 1437 h 1925"/>
              <a:gd name="T34" fmla="*/ 4601 w 5950"/>
              <a:gd name="T35" fmla="*/ 1711 h 1925"/>
              <a:gd name="T36" fmla="*/ 4872 w 5950"/>
              <a:gd name="T37" fmla="*/ 1718 h 1925"/>
              <a:gd name="T38" fmla="*/ 5143 w 5950"/>
              <a:gd name="T39" fmla="*/ 1785 h 1925"/>
              <a:gd name="T40" fmla="*/ 5414 w 5950"/>
              <a:gd name="T41" fmla="*/ 1771 h 1925"/>
              <a:gd name="T42" fmla="*/ 5679 w 5950"/>
              <a:gd name="T43" fmla="*/ 1845 h 1925"/>
              <a:gd name="T44" fmla="*/ 5950 w 5950"/>
              <a:gd name="T45" fmla="*/ 1925 h 19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950" h="1925">
                <a:moveTo>
                  <a:pt x="0" y="87"/>
                </a:moveTo>
                <a:lnTo>
                  <a:pt x="271" y="127"/>
                </a:lnTo>
                <a:lnTo>
                  <a:pt x="542" y="147"/>
                </a:lnTo>
                <a:lnTo>
                  <a:pt x="813" y="133"/>
                </a:lnTo>
                <a:lnTo>
                  <a:pt x="1084" y="167"/>
                </a:lnTo>
                <a:lnTo>
                  <a:pt x="1355" y="20"/>
                </a:lnTo>
                <a:lnTo>
                  <a:pt x="1620" y="1357"/>
                </a:lnTo>
                <a:lnTo>
                  <a:pt x="1891" y="0"/>
                </a:lnTo>
                <a:lnTo>
                  <a:pt x="2162" y="488"/>
                </a:lnTo>
                <a:lnTo>
                  <a:pt x="2433" y="47"/>
                </a:lnTo>
                <a:lnTo>
                  <a:pt x="2704" y="829"/>
                </a:lnTo>
                <a:lnTo>
                  <a:pt x="2975" y="976"/>
                </a:lnTo>
                <a:lnTo>
                  <a:pt x="3246" y="1143"/>
                </a:lnTo>
                <a:lnTo>
                  <a:pt x="3517" y="1270"/>
                </a:lnTo>
                <a:lnTo>
                  <a:pt x="3788" y="1417"/>
                </a:lnTo>
                <a:lnTo>
                  <a:pt x="4059" y="1417"/>
                </a:lnTo>
                <a:lnTo>
                  <a:pt x="4330" y="1437"/>
                </a:lnTo>
                <a:lnTo>
                  <a:pt x="4601" y="1711"/>
                </a:lnTo>
                <a:lnTo>
                  <a:pt x="4872" y="1718"/>
                </a:lnTo>
                <a:lnTo>
                  <a:pt x="5143" y="1785"/>
                </a:lnTo>
                <a:lnTo>
                  <a:pt x="5414" y="1771"/>
                </a:lnTo>
                <a:lnTo>
                  <a:pt x="5679" y="1845"/>
                </a:lnTo>
                <a:lnTo>
                  <a:pt x="5950" y="1925"/>
                </a:lnTo>
              </a:path>
            </a:pathLst>
          </a:custGeom>
          <a:noFill/>
          <a:ln w="26988" cap="rnd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58">
            <a:extLst>
              <a:ext uri="{FF2B5EF4-FFF2-40B4-BE49-F238E27FC236}">
                <a16:creationId xmlns:a16="http://schemas.microsoft.com/office/drawing/2014/main" id="{BEF8855C-C53D-4694-A47E-3A31EF797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3525" y="192563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Oval 59">
            <a:extLst>
              <a:ext uri="{FF2B5EF4-FFF2-40B4-BE49-F238E27FC236}">
                <a16:creationId xmlns:a16="http://schemas.microsoft.com/office/drawing/2014/main" id="{AA4BC9B4-9303-4EAF-ACCC-67CC66148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3525" y="192563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60">
            <a:extLst>
              <a:ext uri="{FF2B5EF4-FFF2-40B4-BE49-F238E27FC236}">
                <a16:creationId xmlns:a16="http://schemas.microsoft.com/office/drawing/2014/main" id="{0C3CB14B-C580-4C71-AC81-231E4CED5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738" y="198913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Oval 61">
            <a:extLst>
              <a:ext uri="{FF2B5EF4-FFF2-40B4-BE49-F238E27FC236}">
                <a16:creationId xmlns:a16="http://schemas.microsoft.com/office/drawing/2014/main" id="{390A12E4-EBEE-4479-8F09-255A51BBD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63738" y="198913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62">
            <a:extLst>
              <a:ext uri="{FF2B5EF4-FFF2-40B4-BE49-F238E27FC236}">
                <a16:creationId xmlns:a16="http://schemas.microsoft.com/office/drawing/2014/main" id="{1A41CF12-C0DF-43CB-8CFC-4511DFF82A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0" y="202088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Oval 63">
            <a:extLst>
              <a:ext uri="{FF2B5EF4-FFF2-40B4-BE49-F238E27FC236}">
                <a16:creationId xmlns:a16="http://schemas.microsoft.com/office/drawing/2014/main" id="{38FFDB25-C286-4A2D-A6D5-601BF774C9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0" y="202088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64">
            <a:extLst>
              <a:ext uri="{FF2B5EF4-FFF2-40B4-BE49-F238E27FC236}">
                <a16:creationId xmlns:a16="http://schemas.microsoft.com/office/drawing/2014/main" id="{D44ACA01-3F6E-4192-B8CB-FDD832FA6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4163" y="1998663"/>
            <a:ext cx="55563" cy="65088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65">
            <a:extLst>
              <a:ext uri="{FF2B5EF4-FFF2-40B4-BE49-F238E27FC236}">
                <a16:creationId xmlns:a16="http://schemas.microsoft.com/office/drawing/2014/main" id="{E3C32AE8-7E88-490F-8671-D9FE93A178EC}"/>
              </a:ext>
            </a:extLst>
          </p:cNvPr>
          <p:cNvSpPr>
            <a:spLocks/>
          </p:cNvSpPr>
          <p:nvPr/>
        </p:nvSpPr>
        <p:spPr bwMode="auto">
          <a:xfrm>
            <a:off x="2824163" y="1998663"/>
            <a:ext cx="55563" cy="65088"/>
          </a:xfrm>
          <a:custGeom>
            <a:avLst/>
            <a:gdLst>
              <a:gd name="T0" fmla="*/ 35 w 35"/>
              <a:gd name="T1" fmla="*/ 20 h 41"/>
              <a:gd name="T2" fmla="*/ 17 w 35"/>
              <a:gd name="T3" fmla="*/ 41 h 41"/>
              <a:gd name="T4" fmla="*/ 0 w 35"/>
              <a:gd name="T5" fmla="*/ 20 h 41"/>
              <a:gd name="T6" fmla="*/ 17 w 35"/>
              <a:gd name="T7" fmla="*/ 0 h 41"/>
              <a:gd name="T8" fmla="*/ 35 w 35"/>
              <a:gd name="T9" fmla="*/ 2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" h="41">
                <a:moveTo>
                  <a:pt x="35" y="20"/>
                </a:moveTo>
                <a:cubicBezTo>
                  <a:pt x="35" y="32"/>
                  <a:pt x="27" y="41"/>
                  <a:pt x="17" y="41"/>
                </a:cubicBezTo>
                <a:cubicBezTo>
                  <a:pt x="8" y="41"/>
                  <a:pt x="0" y="32"/>
                  <a:pt x="0" y="20"/>
                </a:cubicBezTo>
                <a:cubicBezTo>
                  <a:pt x="0" y="10"/>
                  <a:pt x="8" y="0"/>
                  <a:pt x="17" y="0"/>
                </a:cubicBezTo>
                <a:cubicBezTo>
                  <a:pt x="27" y="0"/>
                  <a:pt x="35" y="10"/>
                  <a:pt x="35" y="20"/>
                </a:cubicBezTo>
              </a:path>
            </a:pathLst>
          </a:cu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66">
            <a:extLst>
              <a:ext uri="{FF2B5EF4-FFF2-40B4-BE49-F238E27FC236}">
                <a16:creationId xmlns:a16="http://schemas.microsoft.com/office/drawing/2014/main" id="{C8A44098-55FF-4A6C-818F-BF8EB6E4F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4375" y="205263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67">
            <a:extLst>
              <a:ext uri="{FF2B5EF4-FFF2-40B4-BE49-F238E27FC236}">
                <a16:creationId xmlns:a16="http://schemas.microsoft.com/office/drawing/2014/main" id="{3C950AAE-E290-4E4C-841B-1299A15A12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4375" y="205263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68">
            <a:extLst>
              <a:ext uri="{FF2B5EF4-FFF2-40B4-BE49-F238E27FC236}">
                <a16:creationId xmlns:a16="http://schemas.microsoft.com/office/drawing/2014/main" id="{E9B66116-5A49-47BC-9C55-71C2B8B904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588" y="1819275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Oval 69">
            <a:extLst>
              <a:ext uri="{FF2B5EF4-FFF2-40B4-BE49-F238E27FC236}">
                <a16:creationId xmlns:a16="http://schemas.microsoft.com/office/drawing/2014/main" id="{37D90D37-6C6A-4893-A603-6248EEC9D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4588" y="1819275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70">
            <a:extLst>
              <a:ext uri="{FF2B5EF4-FFF2-40B4-BE49-F238E27FC236}">
                <a16:creationId xmlns:a16="http://schemas.microsoft.com/office/drawing/2014/main" id="{660FFAAB-F5EA-4676-BDA7-CA06B269C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5275" y="3941763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Oval 71">
            <a:extLst>
              <a:ext uri="{FF2B5EF4-FFF2-40B4-BE49-F238E27FC236}">
                <a16:creationId xmlns:a16="http://schemas.microsoft.com/office/drawing/2014/main" id="{91108922-91E1-4204-8C02-FCDCC7D70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5275" y="3941763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Oval 72">
            <a:extLst>
              <a:ext uri="{FF2B5EF4-FFF2-40B4-BE49-F238E27FC236}">
                <a16:creationId xmlns:a16="http://schemas.microsoft.com/office/drawing/2014/main" id="{26FBC4A6-5A63-43D0-B4C3-C67937CD6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5488" y="1787525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Oval 73">
            <a:extLst>
              <a:ext uri="{FF2B5EF4-FFF2-40B4-BE49-F238E27FC236}">
                <a16:creationId xmlns:a16="http://schemas.microsoft.com/office/drawing/2014/main" id="{C30F16C6-F9E5-40DD-9688-25432FE2C4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5488" y="1787525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Oval 74">
            <a:extLst>
              <a:ext uri="{FF2B5EF4-FFF2-40B4-BE49-F238E27FC236}">
                <a16:creationId xmlns:a16="http://schemas.microsoft.com/office/drawing/2014/main" id="{EB803416-8405-40DA-84B7-CA353A6DA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5700" y="2562225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Oval 75">
            <a:extLst>
              <a:ext uri="{FF2B5EF4-FFF2-40B4-BE49-F238E27FC236}">
                <a16:creationId xmlns:a16="http://schemas.microsoft.com/office/drawing/2014/main" id="{4E74A2F8-D23D-4AF8-A0A5-95AAFF4F04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5700" y="2562225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Oval 76">
            <a:extLst>
              <a:ext uri="{FF2B5EF4-FFF2-40B4-BE49-F238E27FC236}">
                <a16:creationId xmlns:a16="http://schemas.microsoft.com/office/drawing/2014/main" id="{E5A6B6D5-2E07-4A78-918A-A7F20CFD9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913" y="186213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Oval 77">
            <a:extLst>
              <a:ext uri="{FF2B5EF4-FFF2-40B4-BE49-F238E27FC236}">
                <a16:creationId xmlns:a16="http://schemas.microsoft.com/office/drawing/2014/main" id="{C198B117-1179-4C4B-A9ED-A88B8CB6C4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5913" y="186213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Oval 78">
            <a:extLst>
              <a:ext uri="{FF2B5EF4-FFF2-40B4-BE49-F238E27FC236}">
                <a16:creationId xmlns:a16="http://schemas.microsoft.com/office/drawing/2014/main" id="{4478B350-4567-4053-BD6A-40573157B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6125" y="310356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Oval 79">
            <a:extLst>
              <a:ext uri="{FF2B5EF4-FFF2-40B4-BE49-F238E27FC236}">
                <a16:creationId xmlns:a16="http://schemas.microsoft.com/office/drawing/2014/main" id="{ECCE6DE2-264C-4A36-A9B2-8E32E9642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6125" y="310356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Oval 80">
            <a:extLst>
              <a:ext uri="{FF2B5EF4-FFF2-40B4-BE49-F238E27FC236}">
                <a16:creationId xmlns:a16="http://schemas.microsoft.com/office/drawing/2014/main" id="{0B294066-D351-4F11-BD7C-AD36AC333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338" y="3336925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Oval 81">
            <a:extLst>
              <a:ext uri="{FF2B5EF4-FFF2-40B4-BE49-F238E27FC236}">
                <a16:creationId xmlns:a16="http://schemas.microsoft.com/office/drawing/2014/main" id="{41B9CDAA-0E37-4450-8A46-280B543A8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6338" y="3336925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Oval 82">
            <a:extLst>
              <a:ext uri="{FF2B5EF4-FFF2-40B4-BE49-F238E27FC236}">
                <a16:creationId xmlns:a16="http://schemas.microsoft.com/office/drawing/2014/main" id="{4CD0D5DD-E51F-4242-92D4-726DA9A53B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50" y="3602038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Oval 83">
            <a:extLst>
              <a:ext uri="{FF2B5EF4-FFF2-40B4-BE49-F238E27FC236}">
                <a16:creationId xmlns:a16="http://schemas.microsoft.com/office/drawing/2014/main" id="{992199E4-C423-4DE4-9D6F-B895504E5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6550" y="3602038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Oval 84">
            <a:extLst>
              <a:ext uri="{FF2B5EF4-FFF2-40B4-BE49-F238E27FC236}">
                <a16:creationId xmlns:a16="http://schemas.microsoft.com/office/drawing/2014/main" id="{64BED1EB-29B8-4E89-8794-F4E7F33A4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763" y="3803650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Oval 85">
            <a:extLst>
              <a:ext uri="{FF2B5EF4-FFF2-40B4-BE49-F238E27FC236}">
                <a16:creationId xmlns:a16="http://schemas.microsoft.com/office/drawing/2014/main" id="{275CFC29-2BA3-431C-A634-26F1198827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6763" y="3803650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Oval 86">
            <a:extLst>
              <a:ext uri="{FF2B5EF4-FFF2-40B4-BE49-F238E27FC236}">
                <a16:creationId xmlns:a16="http://schemas.microsoft.com/office/drawing/2014/main" id="{3C237066-B8A1-4579-A97A-1CDDF5472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975" y="403701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Oval 87">
            <a:extLst>
              <a:ext uri="{FF2B5EF4-FFF2-40B4-BE49-F238E27FC236}">
                <a16:creationId xmlns:a16="http://schemas.microsoft.com/office/drawing/2014/main" id="{D32000C5-061C-4AAE-A4FA-8CA2E096D1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6975" y="403701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Oval 88">
            <a:extLst>
              <a:ext uri="{FF2B5EF4-FFF2-40B4-BE49-F238E27FC236}">
                <a16:creationId xmlns:a16="http://schemas.microsoft.com/office/drawing/2014/main" id="{BD2D4714-8BE5-4E85-8099-3E78520AC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88" y="403701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Oval 89">
            <a:extLst>
              <a:ext uri="{FF2B5EF4-FFF2-40B4-BE49-F238E27FC236}">
                <a16:creationId xmlns:a16="http://schemas.microsoft.com/office/drawing/2014/main" id="{A1526287-DC37-47F5-9F53-388BF479D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7188" y="403701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Oval 90">
            <a:extLst>
              <a:ext uri="{FF2B5EF4-FFF2-40B4-BE49-F238E27FC236}">
                <a16:creationId xmlns:a16="http://schemas.microsoft.com/office/drawing/2014/main" id="{7AD8E61A-EE29-4C77-B6E2-27529EBB77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00" y="406876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Oval 91">
            <a:extLst>
              <a:ext uri="{FF2B5EF4-FFF2-40B4-BE49-F238E27FC236}">
                <a16:creationId xmlns:a16="http://schemas.microsoft.com/office/drawing/2014/main" id="{74AB8496-192C-4F6A-8DF2-15F5F8213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7400" y="406876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Oval 92">
            <a:extLst>
              <a:ext uri="{FF2B5EF4-FFF2-40B4-BE49-F238E27FC236}">
                <a16:creationId xmlns:a16="http://schemas.microsoft.com/office/drawing/2014/main" id="{B6FC4A4A-EBC7-4A15-AAE1-D15BCE974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613" y="4503738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Oval 93">
            <a:extLst>
              <a:ext uri="{FF2B5EF4-FFF2-40B4-BE49-F238E27FC236}">
                <a16:creationId xmlns:a16="http://schemas.microsoft.com/office/drawing/2014/main" id="{FACF3E40-AF4C-401F-8E23-8486A40F6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613" y="4503738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Oval 94">
            <a:extLst>
              <a:ext uri="{FF2B5EF4-FFF2-40B4-BE49-F238E27FC236}">
                <a16:creationId xmlns:a16="http://schemas.microsoft.com/office/drawing/2014/main" id="{B517E3AA-52A5-4FD1-A2E7-9E6660225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7825" y="4514850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Oval 95">
            <a:extLst>
              <a:ext uri="{FF2B5EF4-FFF2-40B4-BE49-F238E27FC236}">
                <a16:creationId xmlns:a16="http://schemas.microsoft.com/office/drawing/2014/main" id="{82474798-33DE-4A76-8A87-3673888695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7825" y="4514850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Oval 96">
            <a:extLst>
              <a:ext uri="{FF2B5EF4-FFF2-40B4-BE49-F238E27FC236}">
                <a16:creationId xmlns:a16="http://schemas.microsoft.com/office/drawing/2014/main" id="{7505D981-8B2A-4F86-8C7F-6B66B70C45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450" y="4621213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Oval 97">
            <a:extLst>
              <a:ext uri="{FF2B5EF4-FFF2-40B4-BE49-F238E27FC236}">
                <a16:creationId xmlns:a16="http://schemas.microsoft.com/office/drawing/2014/main" id="{DE0883CD-CA9F-441C-AE46-3123F89A8D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450" y="4621213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Oval 98">
            <a:extLst>
              <a:ext uri="{FF2B5EF4-FFF2-40B4-BE49-F238E27FC236}">
                <a16:creationId xmlns:a16="http://schemas.microsoft.com/office/drawing/2014/main" id="{99940F92-8834-4B3C-AF71-CD036F4A83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6663" y="4598988"/>
            <a:ext cx="55563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Oval 99">
            <a:extLst>
              <a:ext uri="{FF2B5EF4-FFF2-40B4-BE49-F238E27FC236}">
                <a16:creationId xmlns:a16="http://schemas.microsoft.com/office/drawing/2014/main" id="{D27517C6-36EE-464B-BA10-2159D76B6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26663" y="4598988"/>
            <a:ext cx="55563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Oval 100">
            <a:extLst>
              <a:ext uri="{FF2B5EF4-FFF2-40B4-BE49-F238E27FC236}">
                <a16:creationId xmlns:a16="http://schemas.microsoft.com/office/drawing/2014/main" id="{F7F1A3E1-586E-4D5F-8008-893D39E0D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8938" y="471646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Oval 101">
            <a:extLst>
              <a:ext uri="{FF2B5EF4-FFF2-40B4-BE49-F238E27FC236}">
                <a16:creationId xmlns:a16="http://schemas.microsoft.com/office/drawing/2014/main" id="{45886CA2-CD1B-4182-B4EC-616A728C5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8938" y="471646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Oval 102">
            <a:extLst>
              <a:ext uri="{FF2B5EF4-FFF2-40B4-BE49-F238E27FC236}">
                <a16:creationId xmlns:a16="http://schemas.microsoft.com/office/drawing/2014/main" id="{F1CA119F-B13C-4828-B9C3-35837C88B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9150" y="4843463"/>
            <a:ext cx="53975" cy="63500"/>
          </a:xfrm>
          <a:prstGeom prst="ellipse">
            <a:avLst/>
          </a:prstGeom>
          <a:solidFill>
            <a:srgbClr val="70AD4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Oval 103">
            <a:extLst>
              <a:ext uri="{FF2B5EF4-FFF2-40B4-BE49-F238E27FC236}">
                <a16:creationId xmlns:a16="http://schemas.microsoft.com/office/drawing/2014/main" id="{F6A376D4-01A6-428F-8887-75EDDBDDA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9150" y="4843463"/>
            <a:ext cx="53975" cy="63500"/>
          </a:xfrm>
          <a:prstGeom prst="ellipse">
            <a:avLst/>
          </a:prstGeom>
          <a:noFill/>
          <a:ln w="9525" cap="flat">
            <a:solidFill>
              <a:srgbClr val="70AD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104">
            <a:extLst>
              <a:ext uri="{FF2B5EF4-FFF2-40B4-BE49-F238E27FC236}">
                <a16:creationId xmlns:a16="http://schemas.microsoft.com/office/drawing/2014/main" id="{C9120DA2-8334-4F55-A17C-76071A9BD5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9825" y="5172075"/>
            <a:ext cx="84960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0" name="Rectangle 105">
            <a:extLst>
              <a:ext uri="{FF2B5EF4-FFF2-40B4-BE49-F238E27FC236}">
                <a16:creationId xmlns:a16="http://schemas.microsoft.com/office/drawing/2014/main" id="{4FD17E3D-51EC-47FA-9D23-7ECF23719E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4808538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1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1" name="Rectangle 106">
            <a:extLst>
              <a:ext uri="{FF2B5EF4-FFF2-40B4-BE49-F238E27FC236}">
                <a16:creationId xmlns:a16="http://schemas.microsoft.com/office/drawing/2014/main" id="{AF143110-D231-4EE5-93CB-9D222E032A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4452938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2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2" name="Rectangle 107">
            <a:extLst>
              <a:ext uri="{FF2B5EF4-FFF2-40B4-BE49-F238E27FC236}">
                <a16:creationId xmlns:a16="http://schemas.microsoft.com/office/drawing/2014/main" id="{95DB8B27-A83C-4918-B65E-20EE78883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4097338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</a:rPr>
              <a:t>30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3" name="Rectangle 108">
            <a:extLst>
              <a:ext uri="{FF2B5EF4-FFF2-40B4-BE49-F238E27FC236}">
                <a16:creationId xmlns:a16="http://schemas.microsoft.com/office/drawing/2014/main" id="{65C3A01C-C28B-4D37-9F93-1892B5E858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3738563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4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4" name="Rectangle 109">
            <a:extLst>
              <a:ext uri="{FF2B5EF4-FFF2-40B4-BE49-F238E27FC236}">
                <a16:creationId xmlns:a16="http://schemas.microsoft.com/office/drawing/2014/main" id="{162842FA-4438-4938-8AF2-E01D71C3B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3384550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5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5" name="Rectangle 110">
            <a:extLst>
              <a:ext uri="{FF2B5EF4-FFF2-40B4-BE49-F238E27FC236}">
                <a16:creationId xmlns:a16="http://schemas.microsoft.com/office/drawing/2014/main" id="{D9AA0F07-3874-459F-9408-79036DD83A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3028950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6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6" name="Rectangle 111">
            <a:extLst>
              <a:ext uri="{FF2B5EF4-FFF2-40B4-BE49-F238E27FC236}">
                <a16:creationId xmlns:a16="http://schemas.microsoft.com/office/drawing/2014/main" id="{AFC3F8E6-6CC2-4811-9970-DFA3047B9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2673350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7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7" name="Rectangle 112">
            <a:extLst>
              <a:ext uri="{FF2B5EF4-FFF2-40B4-BE49-F238E27FC236}">
                <a16:creationId xmlns:a16="http://schemas.microsoft.com/office/drawing/2014/main" id="{5D192DD0-2668-425A-820F-E9A59A94F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2314575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8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18" name="Rectangle 113">
            <a:extLst>
              <a:ext uri="{FF2B5EF4-FFF2-40B4-BE49-F238E27FC236}">
                <a16:creationId xmlns:a16="http://schemas.microsoft.com/office/drawing/2014/main" id="{7327AA13-7E20-4022-8BA6-AD8261DA2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2188" y="1960563"/>
            <a:ext cx="25487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</a:rPr>
              <a:t>90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119" name="Rectangle 114">
            <a:extLst>
              <a:ext uri="{FF2B5EF4-FFF2-40B4-BE49-F238E27FC236}">
                <a16:creationId xmlns:a16="http://schemas.microsoft.com/office/drawing/2014/main" id="{80545183-3322-4254-91E6-DC6F39D42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7575" y="1604963"/>
            <a:ext cx="33983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3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1000</a:t>
            </a:r>
            <a:endParaRPr kumimoji="0" lang="en-US" altLang="en-US" sz="1800" b="0" i="0" u="none" strike="noStrike" cap="none" normalizeH="0" baseline="0">
              <a:ln>
                <a:noFill/>
              </a:ln>
              <a:effectLst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E881AC71-24F3-4BEF-853C-0EDC56A52A02}"/>
              </a:ext>
            </a:extLst>
          </p:cNvPr>
          <p:cNvSpPr txBox="1"/>
          <p:nvPr/>
        </p:nvSpPr>
        <p:spPr>
          <a:xfrm rot="18486882">
            <a:off x="1127180" y="5481470"/>
            <a:ext cx="612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Adam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11E93D4F-6A0D-4E8C-AEDC-77C4E09B8E33}"/>
              </a:ext>
            </a:extLst>
          </p:cNvPr>
          <p:cNvSpPr txBox="1"/>
          <p:nvPr/>
        </p:nvSpPr>
        <p:spPr>
          <a:xfrm rot="18486882">
            <a:off x="1653283" y="5446459"/>
            <a:ext cx="5107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Seth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4285DF4-E10D-4F38-A9E5-3337914EBE13}"/>
              </a:ext>
            </a:extLst>
          </p:cNvPr>
          <p:cNvSpPr txBox="1"/>
          <p:nvPr/>
        </p:nvSpPr>
        <p:spPr>
          <a:xfrm rot="18486882">
            <a:off x="2005164" y="5485884"/>
            <a:ext cx="6270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Enosh</a:t>
            </a:r>
            <a:endParaRPr lang="en-US" sz="1400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13811A3-7263-4205-B1E8-1CD9D4773005}"/>
              </a:ext>
            </a:extLst>
          </p:cNvPr>
          <p:cNvSpPr txBox="1"/>
          <p:nvPr/>
        </p:nvSpPr>
        <p:spPr>
          <a:xfrm rot="18486882">
            <a:off x="2386866" y="5504171"/>
            <a:ext cx="684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Cainan</a:t>
            </a:r>
            <a:endParaRPr lang="en-US" sz="1400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D2540FD-797E-4354-B298-EF2451D5BC4C}"/>
              </a:ext>
            </a:extLst>
          </p:cNvPr>
          <p:cNvSpPr txBox="1"/>
          <p:nvPr/>
        </p:nvSpPr>
        <p:spPr>
          <a:xfrm rot="18486882">
            <a:off x="2674101" y="5580474"/>
            <a:ext cx="9108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Mahalelel</a:t>
            </a:r>
            <a:endParaRPr lang="en-US" sz="1400" dirty="0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210741D3-AA56-4F4E-BDA9-6E08136536CF}"/>
              </a:ext>
            </a:extLst>
          </p:cNvPr>
          <p:cNvSpPr txBox="1"/>
          <p:nvPr/>
        </p:nvSpPr>
        <p:spPr>
          <a:xfrm rot="18486882">
            <a:off x="3298231" y="5467420"/>
            <a:ext cx="573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Jared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820BFC62-55B0-4EA3-A035-DD89698F16DC}"/>
              </a:ext>
            </a:extLst>
          </p:cNvPr>
          <p:cNvSpPr txBox="1"/>
          <p:nvPr/>
        </p:nvSpPr>
        <p:spPr>
          <a:xfrm rot="18486882">
            <a:off x="3689275" y="5487776"/>
            <a:ext cx="631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Enoch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BFF9312E-4EE6-4252-A58E-615EC1C564E2}"/>
              </a:ext>
            </a:extLst>
          </p:cNvPr>
          <p:cNvSpPr txBox="1"/>
          <p:nvPr/>
        </p:nvSpPr>
        <p:spPr>
          <a:xfrm rot="18486882">
            <a:off x="3799927" y="5631856"/>
            <a:ext cx="10637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Methuseleh</a:t>
            </a:r>
            <a:endParaRPr lang="en-US" sz="1400" dirty="0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59C2DDC3-BC3D-4880-96A6-9BE19AEA60FC}"/>
              </a:ext>
            </a:extLst>
          </p:cNvPr>
          <p:cNvSpPr txBox="1"/>
          <p:nvPr/>
        </p:nvSpPr>
        <p:spPr>
          <a:xfrm rot="18486882">
            <a:off x="4451410" y="5527504"/>
            <a:ext cx="7489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Lamech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0B09E112-7052-4976-8CE9-3356B3C0A89F}"/>
              </a:ext>
            </a:extLst>
          </p:cNvPr>
          <p:cNvSpPr txBox="1"/>
          <p:nvPr/>
        </p:nvSpPr>
        <p:spPr>
          <a:xfrm rot="18486882">
            <a:off x="5033920" y="5468858"/>
            <a:ext cx="5757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Noah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FC8B36C-3994-4C89-9657-A10BD52DFE66}"/>
              </a:ext>
            </a:extLst>
          </p:cNvPr>
          <p:cNvSpPr txBox="1"/>
          <p:nvPr/>
        </p:nvSpPr>
        <p:spPr>
          <a:xfrm rot="18486882">
            <a:off x="5445142" y="5475164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Shem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8B1F8AA0-17D4-484D-A8B4-9C3F0D53FCC5}"/>
              </a:ext>
            </a:extLst>
          </p:cNvPr>
          <p:cNvSpPr txBox="1"/>
          <p:nvPr/>
        </p:nvSpPr>
        <p:spPr>
          <a:xfrm rot="18486882">
            <a:off x="5691689" y="5570637"/>
            <a:ext cx="881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Arphaxad</a:t>
            </a:r>
            <a:endParaRPr lang="en-US" sz="1400" dirty="0"/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D33D697-D3ED-40BA-8E1E-94249EA99CCE}"/>
              </a:ext>
            </a:extLst>
          </p:cNvPr>
          <p:cNvSpPr txBox="1"/>
          <p:nvPr/>
        </p:nvSpPr>
        <p:spPr>
          <a:xfrm rot="18486882">
            <a:off x="6345716" y="5468227"/>
            <a:ext cx="5758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Salah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86280779-E255-49E7-ABA5-140C37370615}"/>
              </a:ext>
            </a:extLst>
          </p:cNvPr>
          <p:cNvSpPr txBox="1"/>
          <p:nvPr/>
        </p:nvSpPr>
        <p:spPr>
          <a:xfrm rot="18486882">
            <a:off x="6810689" y="5449309"/>
            <a:ext cx="5196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Eber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A51E8EF-0275-4A12-B295-941A074BD6CE}"/>
              </a:ext>
            </a:extLst>
          </p:cNvPr>
          <p:cNvSpPr txBox="1"/>
          <p:nvPr/>
        </p:nvSpPr>
        <p:spPr>
          <a:xfrm rot="18486882">
            <a:off x="7197195" y="5470169"/>
            <a:ext cx="5802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Peleg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E3FCEEDD-CC71-47BC-882E-4214F3AA8A21}"/>
              </a:ext>
            </a:extLst>
          </p:cNvPr>
          <p:cNvSpPr txBox="1"/>
          <p:nvPr/>
        </p:nvSpPr>
        <p:spPr>
          <a:xfrm rot="18486882">
            <a:off x="7730265" y="5430592"/>
            <a:ext cx="463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Reu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E5FC26AF-DFF8-4DD8-89A6-63D0E1DB8BEE}"/>
              </a:ext>
            </a:extLst>
          </p:cNvPr>
          <p:cNvSpPr txBox="1"/>
          <p:nvPr/>
        </p:nvSpPr>
        <p:spPr>
          <a:xfrm rot="18486882">
            <a:off x="8035242" y="5475795"/>
            <a:ext cx="5982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Serug</a:t>
            </a:r>
            <a:endParaRPr lang="en-US" sz="1400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370160A1-D8D0-42AA-8CB2-0B88F694F30F}"/>
              </a:ext>
            </a:extLst>
          </p:cNvPr>
          <p:cNvSpPr txBox="1"/>
          <p:nvPr/>
        </p:nvSpPr>
        <p:spPr>
          <a:xfrm rot="18486882">
            <a:off x="8442402" y="5489668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Nahor</a:t>
            </a:r>
            <a:endParaRPr lang="en-US" sz="14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1270D293-B0DF-4684-B641-7F4CFF4B0088}"/>
              </a:ext>
            </a:extLst>
          </p:cNvPr>
          <p:cNvSpPr txBox="1"/>
          <p:nvPr/>
        </p:nvSpPr>
        <p:spPr>
          <a:xfrm rot="18486882">
            <a:off x="8898458" y="5471708"/>
            <a:ext cx="5866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err="1"/>
              <a:t>Terah</a:t>
            </a:r>
            <a:endParaRPr lang="en-US" sz="1400" dirty="0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D0D29C36-24E4-45D2-9F95-47017781E8D3}"/>
              </a:ext>
            </a:extLst>
          </p:cNvPr>
          <p:cNvSpPr txBox="1"/>
          <p:nvPr/>
        </p:nvSpPr>
        <p:spPr>
          <a:xfrm rot="18486882">
            <a:off x="9136667" y="5568344"/>
            <a:ext cx="8526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Abraham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EDDD3CD2-577F-4CF8-88BF-8EF1E38CB06D}"/>
              </a:ext>
            </a:extLst>
          </p:cNvPr>
          <p:cNvSpPr txBox="1"/>
          <p:nvPr/>
        </p:nvSpPr>
        <p:spPr>
          <a:xfrm rot="18486882">
            <a:off x="9764526" y="5460029"/>
            <a:ext cx="5485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Isaac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EBA6F71D-C89D-46E3-9D39-64D90F92ADD0}"/>
              </a:ext>
            </a:extLst>
          </p:cNvPr>
          <p:cNvSpPr txBox="1"/>
          <p:nvPr/>
        </p:nvSpPr>
        <p:spPr>
          <a:xfrm rot="18486882">
            <a:off x="10142709" y="5474659"/>
            <a:ext cx="5919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Jacob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5FDAF97-1FBC-486B-A6DB-0E8ADF64E4CE}"/>
              </a:ext>
            </a:extLst>
          </p:cNvPr>
          <p:cNvSpPr txBox="1"/>
          <p:nvPr/>
        </p:nvSpPr>
        <p:spPr>
          <a:xfrm rot="18486882">
            <a:off x="10513497" y="5506064"/>
            <a:ext cx="686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/>
              <a:t>Joseph</a:t>
            </a: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32B4602F-7449-49EF-81BC-7F872829A199}"/>
              </a:ext>
            </a:extLst>
          </p:cNvPr>
          <p:cNvSpPr/>
          <p:nvPr/>
        </p:nvSpPr>
        <p:spPr>
          <a:xfrm>
            <a:off x="6902477" y="3384550"/>
            <a:ext cx="955648" cy="12144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E43CE3-313E-4FE3-A379-195287B2B4EC}"/>
              </a:ext>
            </a:extLst>
          </p:cNvPr>
          <p:cNvSpPr/>
          <p:nvPr/>
        </p:nvSpPr>
        <p:spPr>
          <a:xfrm>
            <a:off x="8609161" y="1851025"/>
            <a:ext cx="109538" cy="1095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46F415-ABB3-44DD-9C44-A59754C5906F}"/>
              </a:ext>
            </a:extLst>
          </p:cNvPr>
          <p:cNvSpPr txBox="1"/>
          <p:nvPr/>
        </p:nvSpPr>
        <p:spPr>
          <a:xfrm>
            <a:off x="8745687" y="1725097"/>
            <a:ext cx="1123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soretic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9D1AB4F5-501F-43E5-89EF-0668598BC083}"/>
              </a:ext>
            </a:extLst>
          </p:cNvPr>
          <p:cNvSpPr/>
          <p:nvPr/>
        </p:nvSpPr>
        <p:spPr>
          <a:xfrm>
            <a:off x="8609161" y="2164646"/>
            <a:ext cx="109538" cy="109538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8B61F16-A7BB-465D-86F3-796345B7D37B}"/>
              </a:ext>
            </a:extLst>
          </p:cNvPr>
          <p:cNvSpPr txBox="1"/>
          <p:nvPr/>
        </p:nvSpPr>
        <p:spPr>
          <a:xfrm>
            <a:off x="8745687" y="2038718"/>
            <a:ext cx="11946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eptuagint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28257A2-8779-483A-AAE5-102727153D4E}"/>
              </a:ext>
            </a:extLst>
          </p:cNvPr>
          <p:cNvSpPr txBox="1"/>
          <p:nvPr/>
        </p:nvSpPr>
        <p:spPr>
          <a:xfrm>
            <a:off x="1577707" y="2441059"/>
            <a:ext cx="959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ifespan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CFC609C-2112-4812-A664-7B75B54A00F7}"/>
              </a:ext>
            </a:extLst>
          </p:cNvPr>
          <p:cNvSpPr txBox="1"/>
          <p:nvPr/>
        </p:nvSpPr>
        <p:spPr>
          <a:xfrm>
            <a:off x="1589088" y="3519488"/>
            <a:ext cx="1949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ge at birth of next generatio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76AC03-1378-49A9-A3E8-A5BE9F732B1B}"/>
              </a:ext>
            </a:extLst>
          </p:cNvPr>
          <p:cNvCxnSpPr>
            <a:stCxn id="141" idx="0"/>
          </p:cNvCxnSpPr>
          <p:nvPr/>
        </p:nvCxnSpPr>
        <p:spPr>
          <a:xfrm flipV="1">
            <a:off x="2057486" y="2160618"/>
            <a:ext cx="392027" cy="28044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8FEA70FD-EC81-4820-A115-8E89245D87E4}"/>
              </a:ext>
            </a:extLst>
          </p:cNvPr>
          <p:cNvCxnSpPr>
            <a:cxnSpLocks/>
            <a:stCxn id="142" idx="2"/>
          </p:cNvCxnSpPr>
          <p:nvPr/>
        </p:nvCxnSpPr>
        <p:spPr>
          <a:xfrm>
            <a:off x="2563813" y="4165819"/>
            <a:ext cx="365479" cy="41253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0C87E5B-6FF0-49D6-8375-A691CE2179BA}"/>
              </a:ext>
            </a:extLst>
          </p:cNvPr>
          <p:cNvSpPr txBox="1"/>
          <p:nvPr/>
        </p:nvSpPr>
        <p:spPr>
          <a:xfrm rot="16200000">
            <a:off x="388765" y="3295850"/>
            <a:ext cx="6184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Years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2B2CCE2E-B62A-4C61-AB4F-BC579A1D73C0}"/>
              </a:ext>
            </a:extLst>
          </p:cNvPr>
          <p:cNvSpPr/>
          <p:nvPr/>
        </p:nvSpPr>
        <p:spPr>
          <a:xfrm>
            <a:off x="5591175" y="1720073"/>
            <a:ext cx="94103" cy="35469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42E53A-B06B-4FF5-BCD3-ADD590D81384}"/>
              </a:ext>
            </a:extLst>
          </p:cNvPr>
          <p:cNvSpPr txBox="1"/>
          <p:nvPr/>
        </p:nvSpPr>
        <p:spPr>
          <a:xfrm>
            <a:off x="2717948" y="1258971"/>
            <a:ext cx="1085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nesis 5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64444591-BBE4-434E-A2C4-009744FE66A4}"/>
              </a:ext>
            </a:extLst>
          </p:cNvPr>
          <p:cNvSpPr txBox="1"/>
          <p:nvPr/>
        </p:nvSpPr>
        <p:spPr>
          <a:xfrm>
            <a:off x="7918598" y="1258971"/>
            <a:ext cx="1202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enesis 11</a:t>
            </a:r>
          </a:p>
        </p:txBody>
      </p: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9C6E85FD-B6A7-4DC2-B21F-C44C09FFE3E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01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0607"/>
    </mc:Choice>
    <mc:Fallback xmlns="">
      <p:transition spd="slow" advTm="16060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B554A82-08DB-4981-A062-3C1B251CD1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dates for Creation and the Floo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E68535F-7CCA-42FD-A31A-BBB2D7E65CE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454092"/>
              </p:ext>
            </p:extLst>
          </p:nvPr>
        </p:nvGraphicFramePr>
        <p:xfrm>
          <a:off x="838200" y="1825625"/>
          <a:ext cx="105156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8900">
                  <a:extLst>
                    <a:ext uri="{9D8B030D-6E8A-4147-A177-3AD203B41FA5}">
                      <a16:colId xmlns:a16="http://schemas.microsoft.com/office/drawing/2014/main" val="838731396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91258431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1717318517"/>
                    </a:ext>
                  </a:extLst>
                </a:gridCol>
                <a:gridCol w="2628900">
                  <a:extLst>
                    <a:ext uri="{9D8B030D-6E8A-4147-A177-3AD203B41FA5}">
                      <a16:colId xmlns:a16="http://schemas.microsoft.com/office/drawing/2014/main" val="32783017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hro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loo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6618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ld / Long Sojo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sore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,166 B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,510 B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300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ld / Long Sojo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ptuag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,410 B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168 B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51661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w / Short Sojo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soret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,951 BC (Ussher 4,004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,295 BC (Ussher 2,34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5894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ew / Short Sojour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ptuagi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,195 B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,953 B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352123"/>
                  </a:ext>
                </a:extLst>
              </a:tr>
            </a:tbl>
          </a:graphicData>
        </a:graphic>
      </p:graphicFrame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737B864E-2217-4CC5-99B5-0EF01F67097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8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2463"/>
    </mc:Choice>
    <mc:Fallback xmlns="">
      <p:transition spd="slow" advTm="1524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C64BB-6B53-444D-92FB-F813A550B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lood to the Exodus in the New Chronolog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C0F9A67-57E3-4F95-B6E7-9264DB0F95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72207"/>
            <a:ext cx="12192000" cy="48659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CC1722E-B8AE-422D-8C24-16B7663B8227}"/>
              </a:ext>
            </a:extLst>
          </p:cNvPr>
          <p:cNvSpPr txBox="1"/>
          <p:nvPr/>
        </p:nvSpPr>
        <p:spPr>
          <a:xfrm>
            <a:off x="7839075" y="1695450"/>
            <a:ext cx="1042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Abraha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9FE5E7-3405-4120-9822-5A91942465BB}"/>
              </a:ext>
            </a:extLst>
          </p:cNvPr>
          <p:cNvSpPr txBox="1"/>
          <p:nvPr/>
        </p:nvSpPr>
        <p:spPr>
          <a:xfrm>
            <a:off x="9972675" y="5295900"/>
            <a:ext cx="12908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Hammurabi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6D13195-E348-4B8C-9FE4-4F04F3B0C43A}"/>
              </a:ext>
            </a:extLst>
          </p:cNvPr>
          <p:cNvCxnSpPr>
            <a:cxnSpLocks/>
          </p:cNvCxnSpPr>
          <p:nvPr/>
        </p:nvCxnSpPr>
        <p:spPr>
          <a:xfrm flipH="1">
            <a:off x="10877550" y="5105400"/>
            <a:ext cx="180975" cy="27622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B551B19-2CD1-4848-9355-4771811D49BC}"/>
              </a:ext>
            </a:extLst>
          </p:cNvPr>
          <p:cNvSpPr txBox="1"/>
          <p:nvPr/>
        </p:nvSpPr>
        <p:spPr>
          <a:xfrm>
            <a:off x="6419850" y="3914775"/>
            <a:ext cx="939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argon 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B283B8-FA82-442F-8C99-9086DD2D1DBF}"/>
              </a:ext>
            </a:extLst>
          </p:cNvPr>
          <p:cNvSpPr txBox="1"/>
          <p:nvPr/>
        </p:nvSpPr>
        <p:spPr>
          <a:xfrm>
            <a:off x="3694259" y="4850367"/>
            <a:ext cx="11630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Gilgames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B54A6B-BAB7-42E4-8372-8DE82E2D9079}"/>
              </a:ext>
            </a:extLst>
          </p:cNvPr>
          <p:cNvSpPr txBox="1"/>
          <p:nvPr/>
        </p:nvSpPr>
        <p:spPr>
          <a:xfrm>
            <a:off x="1473493" y="4452460"/>
            <a:ext cx="891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imro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5CD019-6935-4C93-981D-E187F6BB698B}"/>
              </a:ext>
            </a:extLst>
          </p:cNvPr>
          <p:cNvSpPr txBox="1"/>
          <p:nvPr/>
        </p:nvSpPr>
        <p:spPr>
          <a:xfrm>
            <a:off x="453853" y="4793217"/>
            <a:ext cx="641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us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1DB0FFB-0D07-42F5-8FBF-CE3433586FDC}"/>
              </a:ext>
            </a:extLst>
          </p:cNvPr>
          <p:cNvSpPr txBox="1"/>
          <p:nvPr/>
        </p:nvSpPr>
        <p:spPr>
          <a:xfrm>
            <a:off x="1152732" y="2966727"/>
            <a:ext cx="1006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corp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77EF6C-35CE-4EDA-BD31-56DEF95B073A}"/>
              </a:ext>
            </a:extLst>
          </p:cNvPr>
          <p:cNvSpPr txBox="1"/>
          <p:nvPr/>
        </p:nvSpPr>
        <p:spPr>
          <a:xfrm>
            <a:off x="3095832" y="3545443"/>
            <a:ext cx="982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mhote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8D587B-F852-4A42-8F42-403C23CEEABD}"/>
              </a:ext>
            </a:extLst>
          </p:cNvPr>
          <p:cNvSpPr txBox="1"/>
          <p:nvPr/>
        </p:nvSpPr>
        <p:spPr>
          <a:xfrm>
            <a:off x="2758522" y="4213215"/>
            <a:ext cx="1579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Tower of Babe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BD4D402-2ADE-4BED-9082-46045D3584C3}"/>
              </a:ext>
            </a:extLst>
          </p:cNvPr>
          <p:cNvSpPr txBox="1"/>
          <p:nvPr/>
        </p:nvSpPr>
        <p:spPr>
          <a:xfrm>
            <a:off x="3472326" y="3762541"/>
            <a:ext cx="15306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Great Pyrami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A56D72-DAFA-4BC1-8AC8-F6E17B801330}"/>
              </a:ext>
            </a:extLst>
          </p:cNvPr>
          <p:cNvSpPr txBox="1"/>
          <p:nvPr/>
        </p:nvSpPr>
        <p:spPr>
          <a:xfrm>
            <a:off x="3095832" y="1166434"/>
            <a:ext cx="688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Noah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4E4733-9BFC-4840-99FB-F0CC41A7FFE1}"/>
              </a:ext>
            </a:extLst>
          </p:cNvPr>
          <p:cNvSpPr txBox="1"/>
          <p:nvPr/>
        </p:nvSpPr>
        <p:spPr>
          <a:xfrm>
            <a:off x="4190727" y="1293390"/>
            <a:ext cx="712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h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B4B9069-E2AC-4075-B0E3-717952C18D8A}"/>
              </a:ext>
            </a:extLst>
          </p:cNvPr>
          <p:cNvSpPr txBox="1"/>
          <p:nvPr/>
        </p:nvSpPr>
        <p:spPr>
          <a:xfrm>
            <a:off x="9686925" y="1293390"/>
            <a:ext cx="829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Joseph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618167B-9522-4A14-87C0-D51A8A755D83}"/>
              </a:ext>
            </a:extLst>
          </p:cNvPr>
          <p:cNvSpPr txBox="1"/>
          <p:nvPr/>
        </p:nvSpPr>
        <p:spPr>
          <a:xfrm>
            <a:off x="11097023" y="1293390"/>
            <a:ext cx="798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oses</a:t>
            </a:r>
          </a:p>
        </p:txBody>
      </p:sp>
      <p:pic>
        <p:nvPicPr>
          <p:cNvPr id="24" name="Audio 23">
            <a:hlinkClick r:id="" action="ppaction://media"/>
            <a:extLst>
              <a:ext uri="{FF2B5EF4-FFF2-40B4-BE49-F238E27FC236}">
                <a16:creationId xmlns:a16="http://schemas.microsoft.com/office/drawing/2014/main" id="{932484D1-BB0F-4806-937C-429294F5E6E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0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5384"/>
    </mc:Choice>
    <mc:Fallback xmlns="">
      <p:transition spd="slow" advTm="14538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4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38B4FC-43CF-45DB-8F9C-F04F3D3D0D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E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697460-F93C-47F8-8F07-12C63123AA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ww.thebiblicaltimeline.org</a:t>
            </a:r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31499416-1C31-4110-BD03-3C0D9A5DC95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61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338"/>
    </mc:Choice>
    <mc:Fallback xmlns="">
      <p:transition spd="slow" advTm="253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ussher chronology">
            <a:extLst>
              <a:ext uri="{FF2B5EF4-FFF2-40B4-BE49-F238E27FC236}">
                <a16:creationId xmlns:a16="http://schemas.microsoft.com/office/drawing/2014/main" id="{7CCE128D-F28B-44EA-9215-08637D246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3" y="3038474"/>
            <a:ext cx="1952625" cy="2630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ussher">
            <a:extLst>
              <a:ext uri="{FF2B5EF4-FFF2-40B4-BE49-F238E27FC236}">
                <a16:creationId xmlns:a16="http://schemas.microsoft.com/office/drawing/2014/main" id="{F5542B36-846D-4725-9877-939D0B8D65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3" y="695325"/>
            <a:ext cx="1952625" cy="234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6448FB-EE66-4B8D-AB19-FBFE3F5A8041}"/>
              </a:ext>
            </a:extLst>
          </p:cNvPr>
          <p:cNvSpPr txBox="1"/>
          <p:nvPr/>
        </p:nvSpPr>
        <p:spPr>
          <a:xfrm>
            <a:off x="2695575" y="695325"/>
            <a:ext cx="10438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Moder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1A03B1-D83A-4DF5-982F-31C20A204093}"/>
              </a:ext>
            </a:extLst>
          </p:cNvPr>
          <p:cNvCxnSpPr>
            <a:cxnSpLocks/>
          </p:cNvCxnSpPr>
          <p:nvPr/>
        </p:nvCxnSpPr>
        <p:spPr>
          <a:xfrm>
            <a:off x="2752725" y="1162050"/>
            <a:ext cx="334327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269480FF-31D6-4C48-B61D-FA711ACC399A}"/>
              </a:ext>
            </a:extLst>
          </p:cNvPr>
          <p:cNvSpPr txBox="1"/>
          <p:nvPr/>
        </p:nvSpPr>
        <p:spPr>
          <a:xfrm>
            <a:off x="7881937" y="695325"/>
            <a:ext cx="10014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Anci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539E194-0AEF-47D9-BEF9-7920EDE74440}"/>
              </a:ext>
            </a:extLst>
          </p:cNvPr>
          <p:cNvCxnSpPr>
            <a:cxnSpLocks/>
          </p:cNvCxnSpPr>
          <p:nvPr/>
        </p:nvCxnSpPr>
        <p:spPr>
          <a:xfrm>
            <a:off x="7939087" y="1162050"/>
            <a:ext cx="3367088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Image result for Josephus">
            <a:extLst>
              <a:ext uri="{FF2B5EF4-FFF2-40B4-BE49-F238E27FC236}">
                <a16:creationId xmlns:a16="http://schemas.microsoft.com/office/drawing/2014/main" id="{74BFD290-2B6A-41EC-9B60-E0DCBC604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696" y="1364456"/>
            <a:ext cx="861571" cy="1062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Eusebius">
            <a:extLst>
              <a:ext uri="{FF2B5EF4-FFF2-40B4-BE49-F238E27FC236}">
                <a16:creationId xmlns:a16="http://schemas.microsoft.com/office/drawing/2014/main" id="{78C614AB-99A2-4802-BC3A-A3AE3787B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696" y="2550318"/>
            <a:ext cx="870416" cy="11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42EFB98-8682-4AE5-9E30-1C5DF722DB1A}"/>
              </a:ext>
            </a:extLst>
          </p:cNvPr>
          <p:cNvSpPr txBox="1"/>
          <p:nvPr/>
        </p:nvSpPr>
        <p:spPr>
          <a:xfrm>
            <a:off x="2691701" y="1364456"/>
            <a:ext cx="388054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ames Ussher, an Irish Anglican Bishop, wrote his Annals of the World in 1650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reation in 4004 B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Flood in 2348 B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r Isaac Newton did chronological work that was published after his dea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y others have proposed alternatives to Ussher’s chronolog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BFB950-0F5C-466F-9393-4464B6980D02}"/>
              </a:ext>
            </a:extLst>
          </p:cNvPr>
          <p:cNvSpPr txBox="1"/>
          <p:nvPr/>
        </p:nvSpPr>
        <p:spPr>
          <a:xfrm>
            <a:off x="7881937" y="1364456"/>
            <a:ext cx="3880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lavius Josephus, a Jewish priest, wrote his Antiquities of the Jews in the 1</a:t>
            </a:r>
            <a:r>
              <a:rPr lang="en-US" baseline="30000" dirty="0"/>
              <a:t>st</a:t>
            </a:r>
            <a:r>
              <a:rPr lang="en-US" dirty="0"/>
              <a:t> century A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F5E54A-854A-4EDB-AA71-D19F80AC16BA}"/>
              </a:ext>
            </a:extLst>
          </p:cNvPr>
          <p:cNvSpPr txBox="1"/>
          <p:nvPr/>
        </p:nvSpPr>
        <p:spPr>
          <a:xfrm>
            <a:off x="7881937" y="2520493"/>
            <a:ext cx="38805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usebius, a Christian bishop, wrote his chronicle in the early 4</a:t>
            </a:r>
            <a:r>
              <a:rPr lang="en-US" baseline="30000" dirty="0"/>
              <a:t>th</a:t>
            </a:r>
            <a:r>
              <a:rPr lang="en-US" dirty="0"/>
              <a:t> century AD.  He also wrote an early church history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0D2B4A6-7536-412D-9434-5C769A4FD495}"/>
              </a:ext>
            </a:extLst>
          </p:cNvPr>
          <p:cNvSpPr txBox="1"/>
          <p:nvPr/>
        </p:nvSpPr>
        <p:spPr>
          <a:xfrm>
            <a:off x="7873092" y="3844648"/>
            <a:ext cx="38805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veral others histories and chronologies were written in ancient ti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71EF74-5F0D-43A2-BA3B-5E40131DC212}"/>
              </a:ext>
            </a:extLst>
          </p:cNvPr>
          <p:cNvSpPr txBox="1"/>
          <p:nvPr/>
        </p:nvSpPr>
        <p:spPr>
          <a:xfrm>
            <a:off x="2752725" y="5095784"/>
            <a:ext cx="39349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ll of the ancient and modern Chronologies prior to the 20</a:t>
            </a:r>
            <a:r>
              <a:rPr lang="en-US" baseline="30000" dirty="0">
                <a:solidFill>
                  <a:schemeClr val="accent1">
                    <a:lumMod val="75000"/>
                  </a:schemeClr>
                </a:solidFill>
              </a:rPr>
              <a:t>th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century were textual studies, without the benefit of archaeolog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42946E-274A-4FAF-8222-254F106052FA}"/>
              </a:ext>
            </a:extLst>
          </p:cNvPr>
          <p:cNvSpPr txBox="1"/>
          <p:nvPr/>
        </p:nvSpPr>
        <p:spPr>
          <a:xfrm>
            <a:off x="7873092" y="5095784"/>
            <a:ext cx="39349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Ancient chroniclers had access to manuscripts that are now lost and to older versions of those that are available to us today</a:t>
            </a:r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E7486CDF-AC46-4A15-8C05-FE0CA52F88F4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488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0326"/>
    </mc:Choice>
    <mc:Fallback xmlns="">
      <p:transition spd="slow" advTm="1603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5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4" grpId="0"/>
      <p:bldP spid="7" grpId="0"/>
      <p:bldP spid="9" grpId="0"/>
      <p:bldP spid="14" grpId="0"/>
      <p:bldP spid="15" grpId="0"/>
      <p:bldP spid="16" grpId="0"/>
      <p:bldP spid="10" grpId="0"/>
      <p:bldP spid="1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8D2DC19-F8F3-484D-A740-BC16BECF0CBD}"/>
              </a:ext>
            </a:extLst>
          </p:cNvPr>
          <p:cNvSpPr txBox="1"/>
          <p:nvPr/>
        </p:nvSpPr>
        <p:spPr>
          <a:xfrm>
            <a:off x="619125" y="695325"/>
            <a:ext cx="5979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Seven Problems in Old Testament Chron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ABCD2BC-DA87-4F41-AB5F-E4884FB6AD2E}"/>
              </a:ext>
            </a:extLst>
          </p:cNvPr>
          <p:cNvCxnSpPr>
            <a:cxnSpLocks/>
          </p:cNvCxnSpPr>
          <p:nvPr/>
        </p:nvCxnSpPr>
        <p:spPr>
          <a:xfrm>
            <a:off x="619125" y="1162050"/>
            <a:ext cx="1096728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ADF03766-3C17-4510-AD9A-A2067BE7E51B}"/>
              </a:ext>
            </a:extLst>
          </p:cNvPr>
          <p:cNvSpPr txBox="1"/>
          <p:nvPr/>
        </p:nvSpPr>
        <p:spPr>
          <a:xfrm>
            <a:off x="704850" y="1543050"/>
            <a:ext cx="4460452" cy="43150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was creation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was the flood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was Joseph in Egypt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was the Exodus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did the Judges rule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did the Hebrew Kings live?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2000" dirty="0"/>
              <a:t>When was the seventy year captivity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A922E8-433E-49F6-955E-C41464C8909D}"/>
              </a:ext>
            </a:extLst>
          </p:cNvPr>
          <p:cNvSpPr txBox="1"/>
          <p:nvPr/>
        </p:nvSpPr>
        <p:spPr>
          <a:xfrm>
            <a:off x="6200775" y="4838700"/>
            <a:ext cx="30178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I &amp; II Kings, I &amp; II Chronicle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9517FC3-F44B-4355-9AA3-F5516B01A4EC}"/>
              </a:ext>
            </a:extLst>
          </p:cNvPr>
          <p:cNvSpPr/>
          <p:nvPr/>
        </p:nvSpPr>
        <p:spPr>
          <a:xfrm>
            <a:off x="4714875" y="4867275"/>
            <a:ext cx="1485900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B77B1AF0-5AFA-4413-B5E1-BB3573A2B677}"/>
              </a:ext>
            </a:extLst>
          </p:cNvPr>
          <p:cNvSpPr/>
          <p:nvPr/>
        </p:nvSpPr>
        <p:spPr>
          <a:xfrm>
            <a:off x="4714875" y="3648075"/>
            <a:ext cx="1485900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CDD0C3C1-FB38-40EB-98E2-AD9D6624A3BB}"/>
              </a:ext>
            </a:extLst>
          </p:cNvPr>
          <p:cNvSpPr/>
          <p:nvPr/>
        </p:nvSpPr>
        <p:spPr>
          <a:xfrm>
            <a:off x="4714875" y="3057525"/>
            <a:ext cx="1485900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E2A456B0-EEAB-4ACC-B54F-283C2D6BF755}"/>
              </a:ext>
            </a:extLst>
          </p:cNvPr>
          <p:cNvSpPr/>
          <p:nvPr/>
        </p:nvSpPr>
        <p:spPr>
          <a:xfrm>
            <a:off x="4714875" y="2447925"/>
            <a:ext cx="1485900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C73B2F2A-E721-4549-B9D4-C5471834A35F}"/>
              </a:ext>
            </a:extLst>
          </p:cNvPr>
          <p:cNvSpPr/>
          <p:nvPr/>
        </p:nvSpPr>
        <p:spPr>
          <a:xfrm>
            <a:off x="4714875" y="1819275"/>
            <a:ext cx="1485900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AD0ACF64-9BA3-4C08-9A95-8F4A809A379A}"/>
              </a:ext>
            </a:extLst>
          </p:cNvPr>
          <p:cNvSpPr/>
          <p:nvPr/>
        </p:nvSpPr>
        <p:spPr>
          <a:xfrm rot="16200000">
            <a:off x="6366714" y="4243387"/>
            <a:ext cx="876247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AD10EA-7292-4637-81B0-FDA083AFB94A}"/>
              </a:ext>
            </a:extLst>
          </p:cNvPr>
          <p:cNvSpPr txBox="1"/>
          <p:nvPr/>
        </p:nvSpPr>
        <p:spPr>
          <a:xfrm>
            <a:off x="6200775" y="3600442"/>
            <a:ext cx="12410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I Kings 6: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42A3F7-BE07-4274-83D8-AD0CCF321497}"/>
              </a:ext>
            </a:extLst>
          </p:cNvPr>
          <p:cNvSpPr txBox="1"/>
          <p:nvPr/>
        </p:nvSpPr>
        <p:spPr>
          <a:xfrm>
            <a:off x="6200775" y="3009900"/>
            <a:ext cx="15644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Exodus 12:4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888B05-3B26-472E-B16A-BE9E05256C87}"/>
              </a:ext>
            </a:extLst>
          </p:cNvPr>
          <p:cNvSpPr txBox="1"/>
          <p:nvPr/>
        </p:nvSpPr>
        <p:spPr>
          <a:xfrm>
            <a:off x="6200775" y="2409840"/>
            <a:ext cx="13163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enesis 1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A66171-5C97-4C63-8DCD-1B0F10A2253A}"/>
              </a:ext>
            </a:extLst>
          </p:cNvPr>
          <p:cNvSpPr txBox="1"/>
          <p:nvPr/>
        </p:nvSpPr>
        <p:spPr>
          <a:xfrm>
            <a:off x="6200775" y="1781191"/>
            <a:ext cx="11865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enesis 5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CD5723E0-36AB-4721-ACAB-0858C8871CFC}"/>
              </a:ext>
            </a:extLst>
          </p:cNvPr>
          <p:cNvSpPr/>
          <p:nvPr/>
        </p:nvSpPr>
        <p:spPr>
          <a:xfrm rot="16200000">
            <a:off x="6657200" y="3362351"/>
            <a:ext cx="295275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D240B728-DCF7-4391-8C37-4FCE6BEF664B}"/>
              </a:ext>
            </a:extLst>
          </p:cNvPr>
          <p:cNvSpPr/>
          <p:nvPr/>
        </p:nvSpPr>
        <p:spPr>
          <a:xfrm rot="16200000">
            <a:off x="6657200" y="2738441"/>
            <a:ext cx="295275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25CEE5DA-7A13-4FBC-BF9B-E3CF78758ADA}"/>
              </a:ext>
            </a:extLst>
          </p:cNvPr>
          <p:cNvSpPr/>
          <p:nvPr/>
        </p:nvSpPr>
        <p:spPr>
          <a:xfrm rot="16200000">
            <a:off x="6657200" y="2114531"/>
            <a:ext cx="295275" cy="31437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40AB6C79-CD1A-4DCE-AB2F-4FFCFFDEB485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268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0655"/>
    </mc:Choice>
    <mc:Fallback xmlns="">
      <p:transition spd="slow" advTm="1206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94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7" grpId="0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  <p:bldP spid="15" grpId="0"/>
      <p:bldP spid="16" grpId="0"/>
      <p:bldP spid="17" grpId="0"/>
      <p:bldP spid="18" grpId="0" animBg="1"/>
      <p:bldP spid="19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C1EA-4373-4EE3-8155-3B5CBF24D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koning yea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2A5B67-AEB1-499E-B251-B785DC858C16}"/>
              </a:ext>
            </a:extLst>
          </p:cNvPr>
          <p:cNvSpPr/>
          <p:nvPr/>
        </p:nvSpPr>
        <p:spPr>
          <a:xfrm>
            <a:off x="4866735" y="2260120"/>
            <a:ext cx="2458529" cy="431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984191B-F377-4798-B50C-08B5FCCBF3E9}"/>
              </a:ext>
            </a:extLst>
          </p:cNvPr>
          <p:cNvSpPr/>
          <p:nvPr/>
        </p:nvSpPr>
        <p:spPr>
          <a:xfrm>
            <a:off x="5502221" y="2792082"/>
            <a:ext cx="2458529" cy="431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0B3271-6E10-4257-B595-F931958642A2}"/>
              </a:ext>
            </a:extLst>
          </p:cNvPr>
          <p:cNvSpPr/>
          <p:nvPr/>
        </p:nvSpPr>
        <p:spPr>
          <a:xfrm>
            <a:off x="4274399" y="3324044"/>
            <a:ext cx="2458529" cy="431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E88793-70E8-4C60-AB02-769B1F6593D2}"/>
              </a:ext>
            </a:extLst>
          </p:cNvPr>
          <p:cNvCxnSpPr/>
          <p:nvPr/>
        </p:nvCxnSpPr>
        <p:spPr>
          <a:xfrm>
            <a:off x="4866735" y="2122100"/>
            <a:ext cx="0" cy="1837427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E385A7-F475-48C4-9E1B-83995A253779}"/>
              </a:ext>
            </a:extLst>
          </p:cNvPr>
          <p:cNvCxnSpPr/>
          <p:nvPr/>
        </p:nvCxnSpPr>
        <p:spPr>
          <a:xfrm>
            <a:off x="7325264" y="2122100"/>
            <a:ext cx="0" cy="1837427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CF157AC-B740-46C9-B8CF-A5C250BCF4D5}"/>
              </a:ext>
            </a:extLst>
          </p:cNvPr>
          <p:cNvSpPr txBox="1"/>
          <p:nvPr/>
        </p:nvSpPr>
        <p:spPr>
          <a:xfrm>
            <a:off x="4327388" y="1733272"/>
            <a:ext cx="10786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anuary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9BFB17-3388-4F6B-8981-D49249A7FE00}"/>
              </a:ext>
            </a:extLst>
          </p:cNvPr>
          <p:cNvSpPr txBox="1"/>
          <p:nvPr/>
        </p:nvSpPr>
        <p:spPr>
          <a:xfrm>
            <a:off x="2685494" y="2291114"/>
            <a:ext cx="11732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Julian Yea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6B7D6C-9D1C-43A6-9D2C-3C1D4BADC4EC}"/>
              </a:ext>
            </a:extLst>
          </p:cNvPr>
          <p:cNvSpPr txBox="1"/>
          <p:nvPr/>
        </p:nvSpPr>
        <p:spPr>
          <a:xfrm>
            <a:off x="2685494" y="2823076"/>
            <a:ext cx="1163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isan Yea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1E13E5-134E-497C-8871-1A5B2834300A}"/>
              </a:ext>
            </a:extLst>
          </p:cNvPr>
          <p:cNvSpPr txBox="1"/>
          <p:nvPr/>
        </p:nvSpPr>
        <p:spPr>
          <a:xfrm>
            <a:off x="2685494" y="3355038"/>
            <a:ext cx="1149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ishri Yea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1C4FB2-98AD-457D-8F9D-E876B6E2F6CD}"/>
              </a:ext>
            </a:extLst>
          </p:cNvPr>
          <p:cNvSpPr txBox="1"/>
          <p:nvPr/>
        </p:nvSpPr>
        <p:spPr>
          <a:xfrm>
            <a:off x="5034359" y="4260177"/>
            <a:ext cx="9252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586/7</a:t>
            </a:r>
          </a:p>
        </p:txBody>
      </p:sp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7A899DEC-1235-4D8E-AAED-3D34A06223A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79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8960"/>
    </mc:Choice>
    <mc:Fallback xmlns="">
      <p:transition spd="slow" advTm="12896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23ED5-3583-4B7A-8B7A-3A206C513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cension and non-ascension reckoning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AC8916C-AD65-4AD4-A702-4E3357551209}"/>
              </a:ext>
            </a:extLst>
          </p:cNvPr>
          <p:cNvCxnSpPr/>
          <p:nvPr/>
        </p:nvCxnSpPr>
        <p:spPr>
          <a:xfrm>
            <a:off x="838200" y="3762103"/>
            <a:ext cx="105156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2524556-A59C-49AE-BE2F-7F5F2A1D02FD}"/>
              </a:ext>
            </a:extLst>
          </p:cNvPr>
          <p:cNvGrpSpPr/>
          <p:nvPr/>
        </p:nvGrpSpPr>
        <p:grpSpPr>
          <a:xfrm>
            <a:off x="2220685" y="3193868"/>
            <a:ext cx="4916011" cy="1136471"/>
            <a:chOff x="2220685" y="3193868"/>
            <a:chExt cx="4916011" cy="113647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79FD56A-8DC2-411D-BE83-C7B2E8168A74}"/>
                </a:ext>
              </a:extLst>
            </p:cNvPr>
            <p:cNvSpPr/>
            <p:nvPr/>
          </p:nvSpPr>
          <p:spPr>
            <a:xfrm>
              <a:off x="2434048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1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0304EC6-98B3-4FAF-B9AF-D674F02B7B3A}"/>
                </a:ext>
              </a:extLst>
            </p:cNvPr>
            <p:cNvSpPr/>
            <p:nvPr/>
          </p:nvSpPr>
          <p:spPr>
            <a:xfrm>
              <a:off x="2904313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2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2A200B8-97E2-45A7-B7BD-8BCA6F6FD3FB}"/>
                </a:ext>
              </a:extLst>
            </p:cNvPr>
            <p:cNvSpPr/>
            <p:nvPr/>
          </p:nvSpPr>
          <p:spPr>
            <a:xfrm>
              <a:off x="3374578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3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FECF429-037C-4970-8C57-1857448A3F9D}"/>
                </a:ext>
              </a:extLst>
            </p:cNvPr>
            <p:cNvSpPr/>
            <p:nvPr/>
          </p:nvSpPr>
          <p:spPr>
            <a:xfrm>
              <a:off x="3844843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4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22A3DE5-D658-4360-A369-5A30D4B8DE80}"/>
                </a:ext>
              </a:extLst>
            </p:cNvPr>
            <p:cNvSpPr/>
            <p:nvPr/>
          </p:nvSpPr>
          <p:spPr>
            <a:xfrm>
              <a:off x="4315108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5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A1CE3576-4EC4-4882-AB08-5AB803B541BA}"/>
                </a:ext>
              </a:extLst>
            </p:cNvPr>
            <p:cNvSpPr/>
            <p:nvPr/>
          </p:nvSpPr>
          <p:spPr>
            <a:xfrm>
              <a:off x="4785373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6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4717153-1781-45F0-B13B-AD4FE238C410}"/>
                </a:ext>
              </a:extLst>
            </p:cNvPr>
            <p:cNvSpPr/>
            <p:nvPr/>
          </p:nvSpPr>
          <p:spPr>
            <a:xfrm>
              <a:off x="5255638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7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428E6B81-0DFB-40BA-873A-EC4F01A923A7}"/>
                </a:ext>
              </a:extLst>
            </p:cNvPr>
            <p:cNvSpPr/>
            <p:nvPr/>
          </p:nvSpPr>
          <p:spPr>
            <a:xfrm>
              <a:off x="5725903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8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88E03C5-0BA2-4214-87C9-2B53F6241669}"/>
                </a:ext>
              </a:extLst>
            </p:cNvPr>
            <p:cNvSpPr/>
            <p:nvPr/>
          </p:nvSpPr>
          <p:spPr>
            <a:xfrm>
              <a:off x="6196168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9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611002F-301E-4CD6-9F52-10122884EABC}"/>
                </a:ext>
              </a:extLst>
            </p:cNvPr>
            <p:cNvSpPr/>
            <p:nvPr/>
          </p:nvSpPr>
          <p:spPr>
            <a:xfrm>
              <a:off x="6666433" y="3860076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10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B4A2EC0-C3BD-482F-AA35-B95A0CC289F9}"/>
                </a:ext>
              </a:extLst>
            </p:cNvPr>
            <p:cNvSpPr/>
            <p:nvPr/>
          </p:nvSpPr>
          <p:spPr>
            <a:xfrm>
              <a:off x="2220685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1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481EEF6-6B18-43C6-BDDA-FCB1DAAEDF37}"/>
                </a:ext>
              </a:extLst>
            </p:cNvPr>
            <p:cNvSpPr/>
            <p:nvPr/>
          </p:nvSpPr>
          <p:spPr>
            <a:xfrm>
              <a:off x="2690950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2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ED7865F-7BAE-483C-B191-994DB3C647E6}"/>
                </a:ext>
              </a:extLst>
            </p:cNvPr>
            <p:cNvSpPr/>
            <p:nvPr/>
          </p:nvSpPr>
          <p:spPr>
            <a:xfrm>
              <a:off x="3152506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3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084FB8-75DF-4517-AB2B-24DEF55FB7A1}"/>
                </a:ext>
              </a:extLst>
            </p:cNvPr>
            <p:cNvSpPr/>
            <p:nvPr/>
          </p:nvSpPr>
          <p:spPr>
            <a:xfrm>
              <a:off x="3614062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4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07C8FC-A558-45D9-89C2-EA9422FA23A7}"/>
                </a:ext>
              </a:extLst>
            </p:cNvPr>
            <p:cNvSpPr/>
            <p:nvPr/>
          </p:nvSpPr>
          <p:spPr>
            <a:xfrm>
              <a:off x="4075618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5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881CCE5-4C90-470F-A355-A55EFF178850}"/>
                </a:ext>
              </a:extLst>
            </p:cNvPr>
            <p:cNvSpPr/>
            <p:nvPr/>
          </p:nvSpPr>
          <p:spPr>
            <a:xfrm>
              <a:off x="4537174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6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C24F88C-A422-40C8-ABC9-DD9B1F9AF808}"/>
                </a:ext>
              </a:extLst>
            </p:cNvPr>
            <p:cNvSpPr/>
            <p:nvPr/>
          </p:nvSpPr>
          <p:spPr>
            <a:xfrm>
              <a:off x="4998730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7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0E0A773-8E60-42AB-A9AB-98079F8C17F7}"/>
                </a:ext>
              </a:extLst>
            </p:cNvPr>
            <p:cNvSpPr/>
            <p:nvPr/>
          </p:nvSpPr>
          <p:spPr>
            <a:xfrm>
              <a:off x="5460286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8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3610C65-8C47-4971-8D46-C08E76B4545C}"/>
                </a:ext>
              </a:extLst>
            </p:cNvPr>
            <p:cNvSpPr/>
            <p:nvPr/>
          </p:nvSpPr>
          <p:spPr>
            <a:xfrm>
              <a:off x="5921842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9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3544685-23A3-454C-B7AB-0D162CEDB5CE}"/>
                </a:ext>
              </a:extLst>
            </p:cNvPr>
            <p:cNvSpPr/>
            <p:nvPr/>
          </p:nvSpPr>
          <p:spPr>
            <a:xfrm>
              <a:off x="6383398" y="3193868"/>
              <a:ext cx="470263" cy="4702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99"/>
                  </a:solidFill>
                </a:rPr>
                <a:t>10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5E200DF-8B71-4EE4-BE8D-679C8074DFD4}"/>
              </a:ext>
            </a:extLst>
          </p:cNvPr>
          <p:cNvSpPr txBox="1"/>
          <p:nvPr/>
        </p:nvSpPr>
        <p:spPr>
          <a:xfrm>
            <a:off x="838200" y="1964157"/>
            <a:ext cx="6989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srae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2942375-FE3F-4301-9C92-72EBE28794F8}"/>
              </a:ext>
            </a:extLst>
          </p:cNvPr>
          <p:cNvSpPr txBox="1"/>
          <p:nvPr/>
        </p:nvSpPr>
        <p:spPr>
          <a:xfrm>
            <a:off x="838200" y="5140234"/>
            <a:ext cx="7457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Juda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49D472-68DE-477E-841E-0113954F7912}"/>
              </a:ext>
            </a:extLst>
          </p:cNvPr>
          <p:cNvSpPr txBox="1"/>
          <p:nvPr/>
        </p:nvSpPr>
        <p:spPr>
          <a:xfrm>
            <a:off x="2064018" y="1981778"/>
            <a:ext cx="68636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n-ascension year dating with years beginning on Nisan (March/April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9C71F89-F5C0-4044-8967-2ECAA00D8661}"/>
              </a:ext>
            </a:extLst>
          </p:cNvPr>
          <p:cNvSpPr txBox="1"/>
          <p:nvPr/>
        </p:nvSpPr>
        <p:spPr>
          <a:xfrm>
            <a:off x="2064018" y="5140234"/>
            <a:ext cx="7169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scension year dating with years beginning on Tishri (September/October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D54E77-B8EC-48A1-98A5-49288141A2AA}"/>
              </a:ext>
            </a:extLst>
          </p:cNvPr>
          <p:cNvGrpSpPr/>
          <p:nvPr/>
        </p:nvGrpSpPr>
        <p:grpSpPr>
          <a:xfrm>
            <a:off x="2551606" y="2723604"/>
            <a:ext cx="1206155" cy="2081353"/>
            <a:chOff x="2551606" y="2723604"/>
            <a:chExt cx="1206155" cy="2081353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A968A25-9A7A-496D-9DC8-E73E5890E286}"/>
                </a:ext>
              </a:extLst>
            </p:cNvPr>
            <p:cNvSpPr/>
            <p:nvPr/>
          </p:nvSpPr>
          <p:spPr>
            <a:xfrm>
              <a:off x="2551606" y="2723604"/>
              <a:ext cx="148052" cy="470263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2B0D200-6F74-4EB8-932F-77F2113F2172}"/>
                </a:ext>
              </a:extLst>
            </p:cNvPr>
            <p:cNvSpPr/>
            <p:nvPr/>
          </p:nvSpPr>
          <p:spPr>
            <a:xfrm>
              <a:off x="2677889" y="2723604"/>
              <a:ext cx="470263" cy="470263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192D8F9-E324-4BA1-A277-631F01FBD02E}"/>
                </a:ext>
              </a:extLst>
            </p:cNvPr>
            <p:cNvSpPr/>
            <p:nvPr/>
          </p:nvSpPr>
          <p:spPr>
            <a:xfrm>
              <a:off x="3152505" y="2723604"/>
              <a:ext cx="470263" cy="470263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95FAF98-2004-463E-9259-4FAFE935C6B0}"/>
                </a:ext>
              </a:extLst>
            </p:cNvPr>
            <p:cNvSpPr/>
            <p:nvPr/>
          </p:nvSpPr>
          <p:spPr>
            <a:xfrm>
              <a:off x="3609709" y="2723604"/>
              <a:ext cx="148052" cy="470263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4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ABD6253-3D30-494C-8770-ACC3B548F511}"/>
                </a:ext>
              </a:extLst>
            </p:cNvPr>
            <p:cNvCxnSpPr>
              <a:cxnSpLocks/>
            </p:cNvCxnSpPr>
            <p:nvPr/>
          </p:nvCxnSpPr>
          <p:spPr>
            <a:xfrm>
              <a:off x="3753401" y="2732313"/>
              <a:ext cx="0" cy="207264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D6C6893-F799-4BFE-AE79-896785550211}"/>
              </a:ext>
            </a:extLst>
          </p:cNvPr>
          <p:cNvGrpSpPr/>
          <p:nvPr/>
        </p:nvGrpSpPr>
        <p:grpSpPr>
          <a:xfrm>
            <a:off x="3766460" y="2723604"/>
            <a:ext cx="1114698" cy="2072644"/>
            <a:chOff x="3766460" y="2723604"/>
            <a:chExt cx="1114698" cy="2072644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08C07E4-3E59-4CD9-A6AD-3494851240CD}"/>
                </a:ext>
              </a:extLst>
            </p:cNvPr>
            <p:cNvSpPr/>
            <p:nvPr/>
          </p:nvSpPr>
          <p:spPr>
            <a:xfrm>
              <a:off x="3766460" y="2727652"/>
              <a:ext cx="339634" cy="470263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2C1C2BE-FDC0-49D2-9133-38902B192467}"/>
                </a:ext>
              </a:extLst>
            </p:cNvPr>
            <p:cNvSpPr/>
            <p:nvPr/>
          </p:nvSpPr>
          <p:spPr>
            <a:xfrm>
              <a:off x="4075616" y="2727652"/>
              <a:ext cx="470263" cy="470263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887F8CC5-41F0-473E-910F-CDA29791BC79}"/>
                </a:ext>
              </a:extLst>
            </p:cNvPr>
            <p:cNvSpPr/>
            <p:nvPr/>
          </p:nvSpPr>
          <p:spPr>
            <a:xfrm>
              <a:off x="4541524" y="2727652"/>
              <a:ext cx="339634" cy="470263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520EB93-556C-4D0E-A3AE-A7B2868C8DD4}"/>
                </a:ext>
              </a:extLst>
            </p:cNvPr>
            <p:cNvCxnSpPr>
              <a:cxnSpLocks/>
            </p:cNvCxnSpPr>
            <p:nvPr/>
          </p:nvCxnSpPr>
          <p:spPr>
            <a:xfrm>
              <a:off x="4872449" y="2723604"/>
              <a:ext cx="0" cy="207264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35D2BCF-B0C3-443C-BFA9-782743A7DCBA}"/>
              </a:ext>
            </a:extLst>
          </p:cNvPr>
          <p:cNvGrpSpPr/>
          <p:nvPr/>
        </p:nvGrpSpPr>
        <p:grpSpPr>
          <a:xfrm>
            <a:off x="2551606" y="2727959"/>
            <a:ext cx="4585090" cy="2073195"/>
            <a:chOff x="2551606" y="2727959"/>
            <a:chExt cx="4585090" cy="2073195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7424B1E-3D18-4C64-9D86-187DCAE9C5F7}"/>
                </a:ext>
              </a:extLst>
            </p:cNvPr>
            <p:cNvCxnSpPr>
              <a:cxnSpLocks/>
            </p:cNvCxnSpPr>
            <p:nvPr/>
          </p:nvCxnSpPr>
          <p:spPr>
            <a:xfrm>
              <a:off x="2551606" y="2727959"/>
              <a:ext cx="0" cy="2072644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405FA3C-CC4E-4E86-A43F-9EA491A1E71F}"/>
                </a:ext>
              </a:extLst>
            </p:cNvPr>
            <p:cNvGrpSpPr/>
            <p:nvPr/>
          </p:nvGrpSpPr>
          <p:grpSpPr>
            <a:xfrm>
              <a:off x="2553785" y="4330340"/>
              <a:ext cx="4582911" cy="470814"/>
              <a:chOff x="2553785" y="4330340"/>
              <a:chExt cx="4582911" cy="470814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E5F4B649-6BDA-4065-B7DC-4829A82BEB08}"/>
                  </a:ext>
                </a:extLst>
              </p:cNvPr>
              <p:cNvSpPr/>
              <p:nvPr/>
            </p:nvSpPr>
            <p:spPr>
              <a:xfrm>
                <a:off x="2553785" y="4330340"/>
                <a:ext cx="359236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0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23515E70-A67C-4987-A350-605FF9A6AC13}"/>
                  </a:ext>
                </a:extLst>
              </p:cNvPr>
              <p:cNvSpPr/>
              <p:nvPr/>
            </p:nvSpPr>
            <p:spPr>
              <a:xfrm>
                <a:off x="2908663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1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4EC96B6-C78F-4990-B40C-B15C9CE86E5A}"/>
                  </a:ext>
                </a:extLst>
              </p:cNvPr>
              <p:cNvSpPr/>
              <p:nvPr/>
            </p:nvSpPr>
            <p:spPr>
              <a:xfrm>
                <a:off x="3378928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2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20D0DA56-C710-4702-9D02-1D9EE18EE789}"/>
                  </a:ext>
                </a:extLst>
              </p:cNvPr>
              <p:cNvSpPr/>
              <p:nvPr/>
            </p:nvSpPr>
            <p:spPr>
              <a:xfrm>
                <a:off x="3849193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3</a:t>
                </a: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564E968E-D838-4FB6-86F9-0A5F7606B8E6}"/>
                  </a:ext>
                </a:extLst>
              </p:cNvPr>
              <p:cNvSpPr/>
              <p:nvPr/>
            </p:nvSpPr>
            <p:spPr>
              <a:xfrm>
                <a:off x="4319458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4</a:t>
                </a: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D37BAB98-E5B2-4C49-86B7-7536220DF175}"/>
                  </a:ext>
                </a:extLst>
              </p:cNvPr>
              <p:cNvSpPr/>
              <p:nvPr/>
            </p:nvSpPr>
            <p:spPr>
              <a:xfrm>
                <a:off x="4789723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5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ABBDC8B0-BF7A-4A13-B5B3-3843EA915359}"/>
                  </a:ext>
                </a:extLst>
              </p:cNvPr>
              <p:cNvSpPr/>
              <p:nvPr/>
            </p:nvSpPr>
            <p:spPr>
              <a:xfrm>
                <a:off x="5259988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6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E557CB54-E33C-4705-8DC0-996256CB565C}"/>
                  </a:ext>
                </a:extLst>
              </p:cNvPr>
              <p:cNvSpPr/>
              <p:nvPr/>
            </p:nvSpPr>
            <p:spPr>
              <a:xfrm>
                <a:off x="5730253" y="4330340"/>
                <a:ext cx="47026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7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4E1266B7-4A96-4B50-A85D-71FDB7B4E16E}"/>
                  </a:ext>
                </a:extLst>
              </p:cNvPr>
              <p:cNvSpPr/>
              <p:nvPr/>
            </p:nvSpPr>
            <p:spPr>
              <a:xfrm>
                <a:off x="6200518" y="4330340"/>
                <a:ext cx="295173" cy="470263"/>
              </a:xfrm>
              <a:prstGeom prst="rect">
                <a:avLst/>
              </a:prstGeom>
              <a:solidFill>
                <a:schemeClr val="accent4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8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388301E-B8E4-4097-BDDE-A8EC70890AA2}"/>
                  </a:ext>
                </a:extLst>
              </p:cNvPr>
              <p:cNvSpPr/>
              <p:nvPr/>
            </p:nvSpPr>
            <p:spPr>
              <a:xfrm>
                <a:off x="6495692" y="4334695"/>
                <a:ext cx="170740" cy="461552"/>
              </a:xfrm>
              <a:prstGeom prst="rect">
                <a:avLst/>
              </a:prstGeom>
              <a:solidFill>
                <a:schemeClr val="accent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0</a:t>
                </a: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7F2B1240-5927-4B41-9887-23FBBF998C40}"/>
                  </a:ext>
                </a:extLst>
              </p:cNvPr>
              <p:cNvSpPr/>
              <p:nvPr/>
            </p:nvSpPr>
            <p:spPr>
              <a:xfrm>
                <a:off x="6666433" y="4330891"/>
                <a:ext cx="470263" cy="470263"/>
              </a:xfrm>
              <a:prstGeom prst="rect">
                <a:avLst/>
              </a:prstGeom>
              <a:solidFill>
                <a:schemeClr val="accent2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>
                    <a:solidFill>
                      <a:srgbClr val="000099"/>
                    </a:solidFill>
                  </a:rPr>
                  <a:t>1</a:t>
                </a:r>
              </a:p>
            </p:txBody>
          </p:sp>
        </p:grpSp>
      </p:grpSp>
      <p:pic>
        <p:nvPicPr>
          <p:cNvPr id="17" name="Audio 16">
            <a:hlinkClick r:id="" action="ppaction://media"/>
            <a:extLst>
              <a:ext uri="{FF2B5EF4-FFF2-40B4-BE49-F238E27FC236}">
                <a16:creationId xmlns:a16="http://schemas.microsoft.com/office/drawing/2014/main" id="{EA91A7CC-D510-4C1A-81B9-5D853C36230E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8322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0055"/>
    </mc:Choice>
    <mc:Fallback xmlns="">
      <p:transition spd="slow" advTm="1300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6B4A1-9F78-4949-8B7E-6F48B8E5E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the fall of Jerusalem, 586 BC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B87B0E-6680-4A5F-9B0F-E2F160663C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56055"/>
            <a:ext cx="12192000" cy="4945890"/>
          </a:xfrm>
          <a:prstGeom prst="rect">
            <a:avLst/>
          </a:prstGeom>
        </p:spPr>
      </p:pic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68BD9F38-EE22-4C2E-B892-A27871DB0270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67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8193"/>
    </mc:Choice>
    <mc:Fallback xmlns="">
      <p:transition spd="slow" advTm="24819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8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43481C-544B-4665-A8AC-9B69104EB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d and new chronologi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51FCD50-9BF6-43A7-8267-A7B3F1C1FD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15727"/>
            <a:ext cx="4113362" cy="3261235"/>
          </a:xfrm>
        </p:spPr>
        <p:txBody>
          <a:bodyPr>
            <a:normAutofit lnSpcReduction="10000"/>
          </a:bodyPr>
          <a:lstStyle/>
          <a:p>
            <a:r>
              <a:rPr lang="en-US" sz="2000" dirty="0"/>
              <a:t>The old or orthodox chronology is what is accepted by most scholars</a:t>
            </a:r>
          </a:p>
          <a:p>
            <a:r>
              <a:rPr lang="en-US" sz="2000" dirty="0"/>
              <a:t>The new chronology results from a reinterpretation of the evidence for the Third Intermediate Period in Egypt and a change in the identification of the biblical Shishak</a:t>
            </a:r>
          </a:p>
          <a:p>
            <a:r>
              <a:rPr lang="en-US" sz="2000" dirty="0"/>
              <a:t>The chronology of other kingdoms is also impacted through synchronisms but typically from earlier dat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B92049-A43A-4088-AD55-FA21B9956A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16771"/>
            <a:ext cx="12192000" cy="48244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033D824-A635-4987-83C9-4C79B27D9BEC}"/>
              </a:ext>
            </a:extLst>
          </p:cNvPr>
          <p:cNvSpPr txBox="1"/>
          <p:nvPr/>
        </p:nvSpPr>
        <p:spPr>
          <a:xfrm rot="16200000">
            <a:off x="11578087" y="1752308"/>
            <a:ext cx="519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l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C27FAC5-1A1B-42E0-B6E9-D72F78F877F7}"/>
              </a:ext>
            </a:extLst>
          </p:cNvPr>
          <p:cNvSpPr txBox="1"/>
          <p:nvPr/>
        </p:nvSpPr>
        <p:spPr>
          <a:xfrm rot="16200000">
            <a:off x="11526567" y="2877436"/>
            <a:ext cx="622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</a:t>
            </a:r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B56F9DB1-87AF-4984-8907-F89D3169AB99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297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1023"/>
    </mc:Choice>
    <mc:Fallback xmlns="">
      <p:transition spd="slow" advTm="3110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8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  <p:bldLst>
      <p:bldP spid="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132299-C55E-4D6F-9A0B-0051F781D0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the foundation of the temple, 966 BC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94EF03-1F17-4349-AB65-532D405F91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0298" y="933450"/>
            <a:ext cx="7285883" cy="5898816"/>
          </a:xfrm>
          <a:prstGeom prst="rect">
            <a:avLst/>
          </a:prstGeom>
        </p:spPr>
      </p:pic>
      <p:pic>
        <p:nvPicPr>
          <p:cNvPr id="3" name="Audio 2">
            <a:hlinkClick r:id="" action="ppaction://media"/>
            <a:extLst>
              <a:ext uri="{FF2B5EF4-FFF2-40B4-BE49-F238E27FC236}">
                <a16:creationId xmlns:a16="http://schemas.microsoft.com/office/drawing/2014/main" id="{10AE17E9-3731-4860-B770-2F0F4D6382A8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40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6426"/>
    </mc:Choice>
    <mc:Fallback xmlns="">
      <p:transition spd="slow" advTm="1864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6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E14A8-1B86-4ECA-A192-A60E2B98F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messes II and the Exod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034E51-0B39-43D7-82D5-7CD9AE96C19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“Therefore they set taskmasters over them to afflict them with their burdens.  And they built for Pharaoh supply cites, </a:t>
            </a:r>
            <a:r>
              <a:rPr lang="en-US" dirty="0" err="1"/>
              <a:t>Pithom</a:t>
            </a:r>
            <a:r>
              <a:rPr lang="en-US" dirty="0"/>
              <a:t> and </a:t>
            </a:r>
            <a:r>
              <a:rPr lang="en-US" dirty="0" err="1"/>
              <a:t>Raamses</a:t>
            </a:r>
            <a:r>
              <a:rPr lang="en-US" dirty="0"/>
              <a:t>. (Exodus 1:11 NKJV)</a:t>
            </a:r>
          </a:p>
          <a:p>
            <a:r>
              <a:rPr lang="en-US" dirty="0"/>
              <a:t>The city of </a:t>
            </a:r>
            <a:r>
              <a:rPr lang="en-US" dirty="0" err="1"/>
              <a:t>Raamses</a:t>
            </a:r>
            <a:r>
              <a:rPr lang="en-US" dirty="0"/>
              <a:t> was constructed by Ramesses II (The Great), so doesn’t this make him the Pharaoh of the Exodus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243D43-63A4-42B9-BBC2-8DB245906A4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All of the archaeological and other textual evidence indicates that Ramesses II is NOT the Pharaoh of the Exodus</a:t>
            </a:r>
          </a:p>
          <a:p>
            <a:r>
              <a:rPr lang="en-US" dirty="0"/>
              <a:t>The Children of Israel did build a city at the site that later became </a:t>
            </a:r>
            <a:r>
              <a:rPr lang="en-US" dirty="0" err="1"/>
              <a:t>Raamses</a:t>
            </a:r>
            <a:r>
              <a:rPr lang="en-US" dirty="0"/>
              <a:t>, but in an earlier time when it was known as </a:t>
            </a:r>
            <a:r>
              <a:rPr lang="en-US" dirty="0" err="1"/>
              <a:t>Avaris</a:t>
            </a:r>
            <a:endParaRPr lang="en-US" dirty="0"/>
          </a:p>
          <a:p>
            <a:r>
              <a:rPr lang="en-US" dirty="0"/>
              <a:t>The occurrence of the name </a:t>
            </a:r>
            <a:r>
              <a:rPr lang="en-US" dirty="0" err="1"/>
              <a:t>Raamses</a:t>
            </a:r>
            <a:r>
              <a:rPr lang="en-US" dirty="0"/>
              <a:t> must then be due to a later update (the name is also used in Genesis in the time of Joseph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8B39D4-7A41-4F36-B773-C05A98A2D841}"/>
              </a:ext>
            </a:extLst>
          </p:cNvPr>
          <p:cNvSpPr txBox="1"/>
          <p:nvPr/>
        </p:nvSpPr>
        <p:spPr>
          <a:xfrm>
            <a:off x="2592258" y="5572125"/>
            <a:ext cx="16738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Ramesses II</a:t>
            </a:r>
          </a:p>
        </p:txBody>
      </p:sp>
      <p:sp>
        <p:nvSpPr>
          <p:cNvPr id="6" name="&quot;Not Allowed&quot; Symbol 5">
            <a:extLst>
              <a:ext uri="{FF2B5EF4-FFF2-40B4-BE49-F238E27FC236}">
                <a16:creationId xmlns:a16="http://schemas.microsoft.com/office/drawing/2014/main" id="{A82842A4-98B0-46AE-92DA-CC8F8BC231ED}"/>
              </a:ext>
            </a:extLst>
          </p:cNvPr>
          <p:cNvSpPr/>
          <p:nvPr/>
        </p:nvSpPr>
        <p:spPr>
          <a:xfrm>
            <a:off x="2590800" y="5010150"/>
            <a:ext cx="1638300" cy="1638300"/>
          </a:xfrm>
          <a:prstGeom prst="noSmoking">
            <a:avLst>
              <a:gd name="adj" fmla="val 1061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DD02B6BA-3718-495D-B444-F30E2C9229DF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0" y="6096000"/>
            <a:ext cx="609600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571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4485"/>
    </mc:Choice>
    <mc:Fallback xmlns="">
      <p:transition spd="slow" advTm="1744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4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  <p:bldLst>
      <p:bldP spid="3" grpId="0" build="p"/>
      <p:bldP spid="4" grpId="0" build="p"/>
      <p:bldP spid="5" grpId="0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4|326.7|2.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1|12.9|10.4|7.1|21.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4|55.8|23|16.7|12.3|24.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4|4.8|2.3|8.1|10.8|5|3.1|22.6|25.1|10.7|4.9|6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4.2|7.1|25.6|12.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9|45.9|8.1|18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9|18.4|30.5|12.4|15.4|68.8|1.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633BA3D9-9206-4D05-9895-F3348310BB94}" vid="{4E5ABF52-5F00-4221-A3CF-1878142FA97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54</TotalTime>
  <Words>1191</Words>
  <Application>Microsoft Office PowerPoint</Application>
  <PresentationFormat>Widescreen</PresentationFormat>
  <Paragraphs>332</Paragraphs>
  <Slides>19</Slides>
  <Notes>0</Notes>
  <HiddenSlides>0</HiddenSlides>
  <MMClips>19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Wingdings</vt:lpstr>
      <vt:lpstr>Office Theme</vt:lpstr>
      <vt:lpstr>think-cell Slide</vt:lpstr>
      <vt:lpstr>Overview of Biblical Chronology</vt:lpstr>
      <vt:lpstr>PowerPoint Presentation</vt:lpstr>
      <vt:lpstr>PowerPoint Presentation</vt:lpstr>
      <vt:lpstr>Reckoning years</vt:lpstr>
      <vt:lpstr>Ascension and non-ascension reckoning</vt:lpstr>
      <vt:lpstr>To the fall of Jerusalem, 586 BC</vt:lpstr>
      <vt:lpstr>Old and new chronologies</vt:lpstr>
      <vt:lpstr>To the foundation of the temple, 966 BC</vt:lpstr>
      <vt:lpstr>Ramesses II and the Exodus</vt:lpstr>
      <vt:lpstr>The Exodus to David</vt:lpstr>
      <vt:lpstr>How long was Israel in Egypt?</vt:lpstr>
      <vt:lpstr>Abraham to the descent into Egypt: 215 years</vt:lpstr>
      <vt:lpstr>The Sojourn</vt:lpstr>
      <vt:lpstr>Recap</vt:lpstr>
      <vt:lpstr>Generations in the Masoretic and Septuagint</vt:lpstr>
      <vt:lpstr>Generations in the Masoretic and Septuagint</vt:lpstr>
      <vt:lpstr>Potential dates for Creation and the Flood</vt:lpstr>
      <vt:lpstr>The Flood to the Exodus in the New Chronology</vt:lpstr>
      <vt:lpstr>The 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lbot Smith</dc:creator>
  <cp:lastModifiedBy>Talbot Smith</cp:lastModifiedBy>
  <cp:revision>63</cp:revision>
  <dcterms:created xsi:type="dcterms:W3CDTF">2018-11-11T18:14:38Z</dcterms:created>
  <dcterms:modified xsi:type="dcterms:W3CDTF">2021-09-16T13:40:26Z</dcterms:modified>
</cp:coreProperties>
</file>